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Default Extension="mp4" ContentType="video/mp4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3" r:id="rId4"/>
    <p:sldMasterId id="2147483708" r:id="rId5"/>
    <p:sldMasterId id="2147483728" r:id="rId6"/>
  </p:sldMasterIdLst>
  <p:notesMasterIdLst>
    <p:notesMasterId r:id="rId19"/>
  </p:notesMasterIdLst>
  <p:handoutMasterIdLst>
    <p:handoutMasterId r:id="rId20"/>
  </p:handoutMasterIdLst>
  <p:sldIdLst>
    <p:sldId id="5634" r:id="rId7"/>
    <p:sldId id="5640" r:id="rId8"/>
    <p:sldId id="5628" r:id="rId9"/>
    <p:sldId id="5644" r:id="rId10"/>
    <p:sldId id="5645" r:id="rId11"/>
    <p:sldId id="5652" r:id="rId12"/>
    <p:sldId id="5656" r:id="rId13"/>
    <p:sldId id="5651" r:id="rId14"/>
    <p:sldId id="5654" r:id="rId15"/>
    <p:sldId id="5655" r:id="rId16"/>
    <p:sldId id="5653" r:id="rId17"/>
    <p:sldId id="5650" r:id="rId18"/>
  </p:sldIdLst>
  <p:sldSz cx="12192000" cy="6858000"/>
  <p:notesSz cx="6858000" cy="9144000"/>
  <p:custDataLst>
    <p:tags r:id="rId21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Андрей Жандров" initials="АЖ" lastIdx="2" clrIdx="0">
    <p:extLst/>
  </p:cmAuthor>
  <p:cmAuthor id="2" name="office" initials="Rrr" lastIdx="2" clrIdx="1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9F9FA"/>
    <a:srgbClr val="A5D8EB"/>
    <a:srgbClr val="AFC9EF"/>
    <a:srgbClr val="B6181F"/>
    <a:srgbClr val="D71D24"/>
    <a:srgbClr val="C2C8CD"/>
    <a:srgbClr val="ABC700"/>
    <a:srgbClr val="2695D3"/>
    <a:srgbClr val="327EBD"/>
    <a:srgbClr val="1E9DD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076" autoAdjust="0"/>
    <p:restoredTop sz="94878" autoAdjust="0"/>
  </p:normalViewPr>
  <p:slideViewPr>
    <p:cSldViewPr showGuides="1">
      <p:cViewPr varScale="1">
        <p:scale>
          <a:sx n="69" d="100"/>
          <a:sy n="69" d="100"/>
        </p:scale>
        <p:origin x="712" y="-1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37542"/>
    </p:cViewPr>
  </p:sorterViewPr>
  <p:notesViewPr>
    <p:cSldViewPr>
      <p:cViewPr varScale="1">
        <p:scale>
          <a:sx n="122" d="100"/>
          <a:sy n="122" d="100"/>
        </p:scale>
        <p:origin x="1068" y="90"/>
      </p:cViewPr>
      <p:guideLst/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presProps" Target="presProps.xml"/><Relationship Id="rId10" Type="http://schemas.openxmlformats.org/officeDocument/2006/relationships/slide" Target="slides/slide4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BF3480E7-DCB1-9445-AFD2-7B13C251492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26F0D84-728E-5B4D-8D19-DAB73781995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8CE206C-933E-C54B-94CB-CF525CECCA65}" type="datetimeFigureOut">
              <a:t>21.10.2020</a:t>
            </a:fld>
            <a:endParaRPr lang="ru-RU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3420414-30B9-7743-ABA3-E5D05A9E4DE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5E7B456-8CEB-0F4F-AE92-4F697F9922D0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618C08B-0376-9840-84A6-B0D56A150416}" type="slidenum"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195455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4849F9D-86CE-4BF5-BEFC-0063BC819220}" type="datetimeFigureOut">
              <a:rPr lang="ru-RU" smtClean="0"/>
              <a:t>21.10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6E5FA15-4E1C-487D-9F1E-D5A3ED22506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78986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NULL"/><Relationship Id="rId7" Type="http://schemas.openxmlformats.org/officeDocument/2006/relationships/image" Target="NULL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5.png"/><Relationship Id="rId11" Type="http://schemas.openxmlformats.org/officeDocument/2006/relationships/image" Target="NULL"/><Relationship Id="rId5" Type="http://schemas.openxmlformats.org/officeDocument/2006/relationships/image" Target="NULL"/><Relationship Id="rId10" Type="http://schemas.openxmlformats.org/officeDocument/2006/relationships/image" Target="../media/image7.png"/><Relationship Id="rId4" Type="http://schemas.openxmlformats.org/officeDocument/2006/relationships/image" Target="../media/image4.png"/><Relationship Id="rId9" Type="http://schemas.openxmlformats.org/officeDocument/2006/relationships/image" Target="NUL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4.svg"/><Relationship Id="rId7" Type="http://schemas.openxmlformats.org/officeDocument/2006/relationships/image" Target="../media/image7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11" Type="http://schemas.openxmlformats.org/officeDocument/2006/relationships/image" Target="../media/image11.svg"/><Relationship Id="rId5" Type="http://schemas.openxmlformats.org/officeDocument/2006/relationships/image" Target="../media/image2.svg"/><Relationship Id="rId10" Type="http://schemas.openxmlformats.org/officeDocument/2006/relationships/image" Target="../media/image7.png"/><Relationship Id="rId4" Type="http://schemas.openxmlformats.org/officeDocument/2006/relationships/image" Target="../media/image4.png"/><Relationship Id="rId9" Type="http://schemas.openxmlformats.org/officeDocument/2006/relationships/image" Target="../media/image9.svg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41.svg"/><Relationship Id="rId7" Type="http://schemas.openxmlformats.org/officeDocument/2006/relationships/image" Target="../media/image71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5.png"/><Relationship Id="rId11" Type="http://schemas.openxmlformats.org/officeDocument/2006/relationships/image" Target="../media/image111.svg"/><Relationship Id="rId5" Type="http://schemas.openxmlformats.org/officeDocument/2006/relationships/image" Target="../media/image21.svg"/><Relationship Id="rId10" Type="http://schemas.openxmlformats.org/officeDocument/2006/relationships/image" Target="../media/image7.png"/><Relationship Id="rId4" Type="http://schemas.openxmlformats.org/officeDocument/2006/relationships/image" Target="../media/image4.png"/><Relationship Id="rId9" Type="http://schemas.openxmlformats.org/officeDocument/2006/relationships/image" Target="../media/image91.sv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86593868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3">
            <a:extLst>
              <a:ext uri="{FF2B5EF4-FFF2-40B4-BE49-F238E27FC236}">
                <a16:creationId xmlns:a16="http://schemas.microsoft.com/office/drawing/2014/main" id="{046B1519-86C3-4167-B3A5-55924E4036E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9576" y="6455903"/>
            <a:ext cx="1214424" cy="2308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5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99140308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7E8ED43F-4BBD-4778-BB6A-6D4ECED5EC75}"/>
              </a:ext>
            </a:extLst>
          </p:cNvPr>
          <p:cNvSpPr/>
          <p:nvPr userDrawn="1"/>
        </p:nvSpPr>
        <p:spPr>
          <a:xfrm>
            <a:off x="5067041" y="0"/>
            <a:ext cx="7124959" cy="6858000"/>
          </a:xfrm>
          <a:prstGeom prst="rect">
            <a:avLst/>
          </a:prstGeom>
          <a:gradFill flip="none" rotWithShape="1">
            <a:gsLst>
              <a:gs pos="100000">
                <a:schemeClr val="accent2">
                  <a:lumMod val="75000"/>
                </a:schemeClr>
              </a:gs>
              <a:gs pos="0">
                <a:schemeClr val="accent2"/>
              </a:gs>
            </a:gsLst>
            <a:lin ang="13500000" scaled="1"/>
            <a:tileRect/>
          </a:gradFill>
          <a:ln w="9525">
            <a:noFill/>
            <a:miter lim="800000"/>
            <a:headEnd/>
            <a:tailEnd/>
          </a:ln>
          <a:effectLst>
            <a:outerShdw blurRad="228600" sx="102000" sy="102000" algn="ctr" rotWithShape="0">
              <a:prstClr val="black">
                <a:alpha val="16000"/>
              </a:prstClr>
            </a:outerShdw>
          </a:effectLst>
        </p:spPr>
        <p:txBody>
          <a:bodyPr rot="0" spcFirstLastPara="0" vertOverflow="overflow" horzOverflow="overflow" vert="horz" wrap="square" lIns="540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Рисунок 4">
            <a:extLst>
              <a:ext uri="{FF2B5EF4-FFF2-40B4-BE49-F238E27FC236}">
                <a16:creationId xmlns:a16="http://schemas.microsoft.com/office/drawing/2014/main" id="{A9D8B3DA-F040-4BA7-AFF6-9941CA1ECCC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1"/>
            <a:ext cx="5067040" cy="6857998"/>
          </a:xfrm>
          <a:custGeom>
            <a:avLst/>
            <a:gdLst>
              <a:gd name="connsiteX0" fmla="*/ 0 w 3800280"/>
              <a:gd name="connsiteY0" fmla="*/ 0 h 6857998"/>
              <a:gd name="connsiteX1" fmla="*/ 3800280 w 3800280"/>
              <a:gd name="connsiteY1" fmla="*/ 0 h 6857998"/>
              <a:gd name="connsiteX2" fmla="*/ 3800280 w 3800280"/>
              <a:gd name="connsiteY2" fmla="*/ 6857998 h 6857998"/>
              <a:gd name="connsiteX3" fmla="*/ 0 w 3800280"/>
              <a:gd name="connsiteY3" fmla="*/ 6857998 h 6857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00280" h="6857998">
                <a:moveTo>
                  <a:pt x="0" y="0"/>
                </a:moveTo>
                <a:lnTo>
                  <a:pt x="3800280" y="0"/>
                </a:lnTo>
                <a:lnTo>
                  <a:pt x="3800280" y="6857998"/>
                </a:lnTo>
                <a:lnTo>
                  <a:pt x="0" y="685799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effectLst>
            <a:innerShdw blurRad="330200" dist="50800" dir="10800000">
              <a:prstClr val="black">
                <a:alpha val="40000"/>
              </a:prstClr>
            </a:innerShdw>
          </a:effectLst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9" name="Полилиния: фигура 8">
            <a:extLst>
              <a:ext uri="{FF2B5EF4-FFF2-40B4-BE49-F238E27FC236}">
                <a16:creationId xmlns:a16="http://schemas.microsoft.com/office/drawing/2014/main" id="{67D45B60-0518-40EE-BC0F-8DEEBFAF5F01}"/>
              </a:ext>
            </a:extLst>
          </p:cNvPr>
          <p:cNvSpPr/>
          <p:nvPr userDrawn="1"/>
        </p:nvSpPr>
        <p:spPr>
          <a:xfrm>
            <a:off x="5067040" y="1331682"/>
            <a:ext cx="6658915" cy="5526318"/>
          </a:xfrm>
          <a:custGeom>
            <a:avLst/>
            <a:gdLst>
              <a:gd name="connsiteX0" fmla="*/ 0 w 4994186"/>
              <a:gd name="connsiteY0" fmla="*/ 4860492 h 5526318"/>
              <a:gd name="connsiteX1" fmla="*/ 70789 w 4994186"/>
              <a:gd name="connsiteY1" fmla="*/ 4933301 h 5526318"/>
              <a:gd name="connsiteX2" fmla="*/ 483348 w 4994186"/>
              <a:gd name="connsiteY2" fmla="*/ 5316064 h 5526318"/>
              <a:gd name="connsiteX3" fmla="*/ 734622 w 4994186"/>
              <a:gd name="connsiteY3" fmla="*/ 5526318 h 5526318"/>
              <a:gd name="connsiteX4" fmla="*/ 0 w 4994186"/>
              <a:gd name="connsiteY4" fmla="*/ 5526318 h 5526318"/>
              <a:gd name="connsiteX5" fmla="*/ 1449653 w 4994186"/>
              <a:gd name="connsiteY5" fmla="*/ 77941 h 5526318"/>
              <a:gd name="connsiteX6" fmla="*/ 1743029 w 4994186"/>
              <a:gd name="connsiteY6" fmla="*/ 268635 h 5526318"/>
              <a:gd name="connsiteX7" fmla="*/ 2197761 w 4994186"/>
              <a:gd name="connsiteY7" fmla="*/ 1339458 h 5526318"/>
              <a:gd name="connsiteX8" fmla="*/ 2241765 w 4994186"/>
              <a:gd name="connsiteY8" fmla="*/ 2322259 h 5526318"/>
              <a:gd name="connsiteX9" fmla="*/ 672211 w 4994186"/>
              <a:gd name="connsiteY9" fmla="*/ 2644974 h 5526318"/>
              <a:gd name="connsiteX10" fmla="*/ 126945 w 4994186"/>
              <a:gd name="connsiteY10" fmla="*/ 2807018 h 5526318"/>
              <a:gd name="connsiteX11" fmla="*/ 0 w 4994186"/>
              <a:gd name="connsiteY11" fmla="*/ 2850511 h 5526318"/>
              <a:gd name="connsiteX12" fmla="*/ 0 w 4994186"/>
              <a:gd name="connsiteY12" fmla="*/ 394288 h 5526318"/>
              <a:gd name="connsiteX13" fmla="*/ 26785 w 4994186"/>
              <a:gd name="connsiteY13" fmla="*/ 385986 h 5526318"/>
              <a:gd name="connsiteX14" fmla="*/ 1449653 w 4994186"/>
              <a:gd name="connsiteY14" fmla="*/ 77941 h 5526318"/>
              <a:gd name="connsiteX15" fmla="*/ 2637823 w 4994186"/>
              <a:gd name="connsiteY15" fmla="*/ 935 h 5526318"/>
              <a:gd name="connsiteX16" fmla="*/ 3327257 w 4994186"/>
              <a:gd name="connsiteY16" fmla="*/ 19271 h 5526318"/>
              <a:gd name="connsiteX17" fmla="*/ 4515426 w 4994186"/>
              <a:gd name="connsiteY17" fmla="*/ 429994 h 5526318"/>
              <a:gd name="connsiteX18" fmla="*/ 4955484 w 4994186"/>
              <a:gd name="connsiteY18" fmla="*/ 1603495 h 5526318"/>
              <a:gd name="connsiteX19" fmla="*/ 4955484 w 4994186"/>
              <a:gd name="connsiteY19" fmla="*/ 3070371 h 5526318"/>
              <a:gd name="connsiteX20" fmla="*/ 4618104 w 4994186"/>
              <a:gd name="connsiteY20" fmla="*/ 4889293 h 5526318"/>
              <a:gd name="connsiteX21" fmla="*/ 4431901 w 4994186"/>
              <a:gd name="connsiteY21" fmla="*/ 5526318 h 5526318"/>
              <a:gd name="connsiteX22" fmla="*/ 1953004 w 4994186"/>
              <a:gd name="connsiteY22" fmla="*/ 5526318 h 5526318"/>
              <a:gd name="connsiteX23" fmla="*/ 2117085 w 4994186"/>
              <a:gd name="connsiteY23" fmla="*/ 5120329 h 5526318"/>
              <a:gd name="connsiteX24" fmla="*/ 2359120 w 4994186"/>
              <a:gd name="connsiteY24" fmla="*/ 4302545 h 5526318"/>
              <a:gd name="connsiteX25" fmla="*/ 2667162 w 4994186"/>
              <a:gd name="connsiteY25" fmla="*/ 2307594 h 5526318"/>
              <a:gd name="connsiteX26" fmla="*/ 2623157 w 4994186"/>
              <a:gd name="connsiteY26" fmla="*/ 1324788 h 5526318"/>
              <a:gd name="connsiteX27" fmla="*/ 2168426 w 4994186"/>
              <a:gd name="connsiteY27" fmla="*/ 239304 h 5526318"/>
              <a:gd name="connsiteX28" fmla="*/ 1860380 w 4994186"/>
              <a:gd name="connsiteY28" fmla="*/ 48606 h 5526318"/>
              <a:gd name="connsiteX29" fmla="*/ 2637823 w 4994186"/>
              <a:gd name="connsiteY29" fmla="*/ 935 h 55263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4994186" h="5526318">
                <a:moveTo>
                  <a:pt x="0" y="4860492"/>
                </a:moveTo>
                <a:lnTo>
                  <a:pt x="70789" y="4933301"/>
                </a:lnTo>
                <a:cubicBezTo>
                  <a:pt x="210142" y="5068988"/>
                  <a:pt x="347664" y="5196424"/>
                  <a:pt x="483348" y="5316064"/>
                </a:cubicBezTo>
                <a:lnTo>
                  <a:pt x="734622" y="5526318"/>
                </a:lnTo>
                <a:lnTo>
                  <a:pt x="0" y="5526318"/>
                </a:lnTo>
                <a:close/>
                <a:moveTo>
                  <a:pt x="1449653" y="77941"/>
                </a:moveTo>
                <a:cubicBezTo>
                  <a:pt x="1567004" y="136618"/>
                  <a:pt x="1669682" y="195292"/>
                  <a:pt x="1743029" y="268635"/>
                </a:cubicBezTo>
                <a:cubicBezTo>
                  <a:pt x="2021736" y="518007"/>
                  <a:pt x="2139083" y="928730"/>
                  <a:pt x="2197761" y="1339458"/>
                </a:cubicBezTo>
                <a:cubicBezTo>
                  <a:pt x="2241765" y="1632829"/>
                  <a:pt x="2256434" y="1970210"/>
                  <a:pt x="2241765" y="2322259"/>
                </a:cubicBezTo>
                <a:cubicBezTo>
                  <a:pt x="1772368" y="2366267"/>
                  <a:pt x="1244289" y="2468949"/>
                  <a:pt x="672211" y="2644974"/>
                </a:cubicBezTo>
                <a:cubicBezTo>
                  <a:pt x="481517" y="2696315"/>
                  <a:pt x="299990" y="2750406"/>
                  <a:pt x="126945" y="2807018"/>
                </a:cubicBezTo>
                <a:lnTo>
                  <a:pt x="0" y="2850511"/>
                </a:lnTo>
                <a:lnTo>
                  <a:pt x="0" y="394288"/>
                </a:lnTo>
                <a:lnTo>
                  <a:pt x="26785" y="385986"/>
                </a:lnTo>
                <a:cubicBezTo>
                  <a:pt x="540190" y="239300"/>
                  <a:pt x="1009591" y="136618"/>
                  <a:pt x="1449653" y="77941"/>
                </a:cubicBezTo>
                <a:close/>
                <a:moveTo>
                  <a:pt x="2637823" y="935"/>
                </a:moveTo>
                <a:cubicBezTo>
                  <a:pt x="2883524" y="-2731"/>
                  <a:pt x="3114560" y="4602"/>
                  <a:pt x="3327257" y="19271"/>
                </a:cubicBezTo>
                <a:cubicBezTo>
                  <a:pt x="3781984" y="63279"/>
                  <a:pt x="4251385" y="165957"/>
                  <a:pt x="4515426" y="429994"/>
                </a:cubicBezTo>
                <a:cubicBezTo>
                  <a:pt x="4794129" y="694032"/>
                  <a:pt x="4911480" y="1148763"/>
                  <a:pt x="4955484" y="1603495"/>
                </a:cubicBezTo>
                <a:cubicBezTo>
                  <a:pt x="4999493" y="2028887"/>
                  <a:pt x="5014162" y="2512957"/>
                  <a:pt x="4955484" y="3070371"/>
                </a:cubicBezTo>
                <a:cubicBezTo>
                  <a:pt x="4896811" y="3613115"/>
                  <a:pt x="4794129" y="4214532"/>
                  <a:pt x="4618104" y="4889293"/>
                </a:cubicBezTo>
                <a:lnTo>
                  <a:pt x="4431901" y="5526318"/>
                </a:lnTo>
                <a:lnTo>
                  <a:pt x="1953004" y="5526318"/>
                </a:lnTo>
                <a:lnTo>
                  <a:pt x="2117085" y="5120329"/>
                </a:lnTo>
                <a:cubicBezTo>
                  <a:pt x="2205097" y="4867291"/>
                  <a:pt x="2285777" y="4595921"/>
                  <a:pt x="2359120" y="4302545"/>
                </a:cubicBezTo>
                <a:cubicBezTo>
                  <a:pt x="2549810" y="3554437"/>
                  <a:pt x="2652492" y="2894346"/>
                  <a:pt x="2667162" y="2307594"/>
                </a:cubicBezTo>
                <a:cubicBezTo>
                  <a:pt x="2681831" y="1955544"/>
                  <a:pt x="2667162" y="1618164"/>
                  <a:pt x="2623157" y="1324788"/>
                </a:cubicBezTo>
                <a:cubicBezTo>
                  <a:pt x="2564480" y="899395"/>
                  <a:pt x="2432463" y="488672"/>
                  <a:pt x="2168426" y="239304"/>
                </a:cubicBezTo>
                <a:cubicBezTo>
                  <a:pt x="2080413" y="165957"/>
                  <a:pt x="1977732" y="107284"/>
                  <a:pt x="1860380" y="48606"/>
                </a:cubicBezTo>
                <a:cubicBezTo>
                  <a:pt x="2131750" y="19271"/>
                  <a:pt x="2392121" y="4602"/>
                  <a:pt x="2637823" y="935"/>
                </a:cubicBezTo>
                <a:close/>
              </a:path>
            </a:pathLst>
          </a:custGeom>
          <a:gradFill>
            <a:gsLst>
              <a:gs pos="11000">
                <a:schemeClr val="bg1">
                  <a:alpha val="0"/>
                </a:schemeClr>
              </a:gs>
              <a:gs pos="89000">
                <a:schemeClr val="bg1">
                  <a:alpha val="10000"/>
                </a:schemeClr>
              </a:gs>
            </a:gsLst>
            <a:lin ang="17400000" scaled="0"/>
          </a:gra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Текст 14">
            <a:extLst>
              <a:ext uri="{FF2B5EF4-FFF2-40B4-BE49-F238E27FC236}">
                <a16:creationId xmlns:a16="http://schemas.microsoft.com/office/drawing/2014/main" id="{CD3262E0-C25D-43EE-82C6-F57FEB56F79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32596" y="55692"/>
            <a:ext cx="2980504" cy="3062377"/>
          </a:xfrm>
        </p:spPr>
        <p:txBody>
          <a:bodyPr wrap="none">
            <a:noAutofit/>
          </a:bodyPr>
          <a:lstStyle>
            <a:lvl1pPr marL="0" indent="0">
              <a:buNone/>
              <a:defRPr kumimoji="0" lang="ru-RU" sz="19900" b="1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Roboto Thin" panose="02000000000000000000" pitchFamily="2" charset="0"/>
                <a:cs typeface="+mn-cs"/>
              </a:defRPr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01</a:t>
            </a:r>
          </a:p>
        </p:txBody>
      </p:sp>
      <p:sp>
        <p:nvSpPr>
          <p:cNvPr id="18" name="Заголовок 12">
            <a:extLst>
              <a:ext uri="{FF2B5EF4-FFF2-40B4-BE49-F238E27FC236}">
                <a16:creationId xmlns:a16="http://schemas.microsoft.com/office/drawing/2014/main" id="{3DA310B7-7F23-49D4-B16D-1675312F5F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40366" y="1106128"/>
            <a:ext cx="6124585" cy="1116578"/>
          </a:xfrm>
        </p:spPr>
        <p:txBody>
          <a:bodyPr anchor="b">
            <a:noAutofit/>
          </a:bodyPr>
          <a:lstStyle>
            <a:lvl1pPr>
              <a:defRPr kumimoji="0" lang="ru-RU" sz="4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defRPr>
            </a:lvl1pPr>
          </a:lstStyle>
          <a:p>
            <a:pPr lvl="0">
              <a:defRPr/>
            </a:pPr>
            <a:r>
              <a:rPr lang="ru-RU" sz="4000" b="1" dirty="0">
                <a:solidFill>
                  <a:srgbClr val="FFFFFF"/>
                </a:solidFill>
              </a:rPr>
              <a:t>Титульный слайд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Текст 19">
            <a:extLst>
              <a:ext uri="{FF2B5EF4-FFF2-40B4-BE49-F238E27FC236}">
                <a16:creationId xmlns:a16="http://schemas.microsoft.com/office/drawing/2014/main" id="{18B72DCC-62DC-40D4-BDD0-128615C457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40366" y="2394168"/>
            <a:ext cx="6124585" cy="233910"/>
          </a:xfrm>
        </p:spPr>
        <p:txBody>
          <a:bodyPr>
            <a:spAutoFit/>
          </a:bodyPr>
          <a:lstStyle>
            <a:lvl1pPr marL="180000" indent="-180000" algn="l" defTabSz="883649" rtl="0" eaLnBrk="0" fontAlgn="base" hangingPunct="0">
              <a:lnSpc>
                <a:spcPct val="95000"/>
              </a:lnSpc>
              <a:spcBef>
                <a:spcPts val="500"/>
              </a:spcBef>
              <a:spcAft>
                <a:spcPts val="200"/>
              </a:spcAft>
              <a:defRPr lang="ru-RU" sz="16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algn="l" defTabSz="883649" rtl="0" eaLnBrk="0" fontAlgn="base" hangingPunct="0">
              <a:spcBef>
                <a:spcPts val="500"/>
              </a:spcBef>
              <a:spcAft>
                <a:spcPct val="0"/>
              </a:spcAft>
              <a:defRPr lang="ru-RU" sz="18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algn="l" defTabSz="883649" rtl="0" eaLnBrk="0" fontAlgn="base" hangingPunct="0">
              <a:spcBef>
                <a:spcPts val="500"/>
              </a:spcBef>
              <a:spcAft>
                <a:spcPct val="0"/>
              </a:spcAft>
              <a:defRPr lang="ru-RU" sz="18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algn="l" defTabSz="883649" rtl="0" eaLnBrk="0" fontAlgn="base" hangingPunct="0">
              <a:spcBef>
                <a:spcPts val="500"/>
              </a:spcBef>
              <a:spcAft>
                <a:spcPct val="0"/>
              </a:spcAft>
              <a:defRPr lang="ru-RU" sz="18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algn="l" defTabSz="883649" rtl="0" eaLnBrk="0" fontAlgn="base" hangingPunct="0">
              <a:spcBef>
                <a:spcPts val="500"/>
              </a:spcBef>
              <a:spcAft>
                <a:spcPct val="0"/>
              </a:spcAft>
              <a:defRPr lang="ru-RU" sz="18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1" name="Номер слайда 3">
            <a:extLst>
              <a:ext uri="{FF2B5EF4-FFF2-40B4-BE49-F238E27FC236}">
                <a16:creationId xmlns:a16="http://schemas.microsoft.com/office/drawing/2014/main" id="{AC2B428E-1172-4B83-9B05-740524A8529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9576" y="6455903"/>
            <a:ext cx="1214424" cy="2308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50">
                <a:solidFill>
                  <a:schemeClr val="bg1"/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8160644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3498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то справа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68651D85-208E-4EFB-B852-FE9A38347B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16465"/>
            <a:ext cx="6127751" cy="297962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9" name="Рисунок 8">
            <a:extLst>
              <a:ext uri="{FF2B5EF4-FFF2-40B4-BE49-F238E27FC236}">
                <a16:creationId xmlns:a16="http://schemas.microsoft.com/office/drawing/2014/main" id="{2E27A946-30F6-49C0-B0F3-7D4C6F80DB8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008101" y="2"/>
            <a:ext cx="5183900" cy="6857999"/>
          </a:xfrm>
          <a:custGeom>
            <a:avLst/>
            <a:gdLst>
              <a:gd name="connsiteX0" fmla="*/ 0 w 4780955"/>
              <a:gd name="connsiteY0" fmla="*/ 0 h 5773019"/>
              <a:gd name="connsiteX1" fmla="*/ 4780955 w 4780955"/>
              <a:gd name="connsiteY1" fmla="*/ 0 h 5773019"/>
              <a:gd name="connsiteX2" fmla="*/ 4780955 w 4780955"/>
              <a:gd name="connsiteY2" fmla="*/ 5773019 h 5773019"/>
              <a:gd name="connsiteX3" fmla="*/ 630376 w 4780955"/>
              <a:gd name="connsiteY3" fmla="*/ 5773019 h 5773019"/>
              <a:gd name="connsiteX0" fmla="*/ 0 w 4780955"/>
              <a:gd name="connsiteY0" fmla="*/ 0 h 5786343"/>
              <a:gd name="connsiteX1" fmla="*/ 4780955 w 4780955"/>
              <a:gd name="connsiteY1" fmla="*/ 0 h 5786343"/>
              <a:gd name="connsiteX2" fmla="*/ 4780955 w 4780955"/>
              <a:gd name="connsiteY2" fmla="*/ 5773019 h 5786343"/>
              <a:gd name="connsiteX3" fmla="*/ 1096154 w 4780955"/>
              <a:gd name="connsiteY3" fmla="*/ 5786343 h 5786343"/>
              <a:gd name="connsiteX4" fmla="*/ 630376 w 4780955"/>
              <a:gd name="connsiteY4" fmla="*/ 5773019 h 5786343"/>
              <a:gd name="connsiteX5" fmla="*/ 0 w 4780955"/>
              <a:gd name="connsiteY5" fmla="*/ 0 h 5786343"/>
              <a:gd name="connsiteX0" fmla="*/ 1363266 w 6144221"/>
              <a:gd name="connsiteY0" fmla="*/ 0 h 5795147"/>
              <a:gd name="connsiteX1" fmla="*/ 6144221 w 6144221"/>
              <a:gd name="connsiteY1" fmla="*/ 0 h 5795147"/>
              <a:gd name="connsiteX2" fmla="*/ 6144221 w 6144221"/>
              <a:gd name="connsiteY2" fmla="*/ 5773019 h 5795147"/>
              <a:gd name="connsiteX3" fmla="*/ 2459420 w 6144221"/>
              <a:gd name="connsiteY3" fmla="*/ 5786343 h 5795147"/>
              <a:gd name="connsiteX4" fmla="*/ 0 w 6144221"/>
              <a:gd name="connsiteY4" fmla="*/ 5795147 h 5795147"/>
              <a:gd name="connsiteX5" fmla="*/ 1363266 w 6144221"/>
              <a:gd name="connsiteY5" fmla="*/ 0 h 5795147"/>
              <a:gd name="connsiteX0" fmla="*/ 1363266 w 6144221"/>
              <a:gd name="connsiteY0" fmla="*/ 0 h 5795147"/>
              <a:gd name="connsiteX1" fmla="*/ 6144221 w 6144221"/>
              <a:gd name="connsiteY1" fmla="*/ 0 h 5795147"/>
              <a:gd name="connsiteX2" fmla="*/ 6144221 w 6144221"/>
              <a:gd name="connsiteY2" fmla="*/ 5773019 h 5795147"/>
              <a:gd name="connsiteX3" fmla="*/ 0 w 6144221"/>
              <a:gd name="connsiteY3" fmla="*/ 5795147 h 5795147"/>
              <a:gd name="connsiteX4" fmla="*/ 1363266 w 6144221"/>
              <a:gd name="connsiteY4" fmla="*/ 0 h 5795147"/>
              <a:gd name="connsiteX0" fmla="*/ 1074532 w 5855487"/>
              <a:gd name="connsiteY0" fmla="*/ 0 h 5773019"/>
              <a:gd name="connsiteX1" fmla="*/ 5855487 w 5855487"/>
              <a:gd name="connsiteY1" fmla="*/ 0 h 5773019"/>
              <a:gd name="connsiteX2" fmla="*/ 5855487 w 5855487"/>
              <a:gd name="connsiteY2" fmla="*/ 5773019 h 5773019"/>
              <a:gd name="connsiteX3" fmla="*/ 0 w 5855487"/>
              <a:gd name="connsiteY3" fmla="*/ 5750892 h 5773019"/>
              <a:gd name="connsiteX4" fmla="*/ 1074532 w 5855487"/>
              <a:gd name="connsiteY4" fmla="*/ 0 h 5773019"/>
              <a:gd name="connsiteX0" fmla="*/ 1047034 w 5827989"/>
              <a:gd name="connsiteY0" fmla="*/ 0 h 5784084"/>
              <a:gd name="connsiteX1" fmla="*/ 5827989 w 5827989"/>
              <a:gd name="connsiteY1" fmla="*/ 0 h 5784084"/>
              <a:gd name="connsiteX2" fmla="*/ 5827989 w 5827989"/>
              <a:gd name="connsiteY2" fmla="*/ 5773019 h 5784084"/>
              <a:gd name="connsiteX3" fmla="*/ 0 w 5827989"/>
              <a:gd name="connsiteY3" fmla="*/ 5784084 h 5784084"/>
              <a:gd name="connsiteX4" fmla="*/ 1047034 w 5827989"/>
              <a:gd name="connsiteY4" fmla="*/ 0 h 5784084"/>
              <a:gd name="connsiteX0" fmla="*/ 1033285 w 5814240"/>
              <a:gd name="connsiteY0" fmla="*/ 0 h 5773021"/>
              <a:gd name="connsiteX1" fmla="*/ 5814240 w 5814240"/>
              <a:gd name="connsiteY1" fmla="*/ 0 h 5773021"/>
              <a:gd name="connsiteX2" fmla="*/ 5814240 w 5814240"/>
              <a:gd name="connsiteY2" fmla="*/ 5773019 h 5773021"/>
              <a:gd name="connsiteX3" fmla="*/ 0 w 5814240"/>
              <a:gd name="connsiteY3" fmla="*/ 5773021 h 5773021"/>
              <a:gd name="connsiteX4" fmla="*/ 1033285 w 5814240"/>
              <a:gd name="connsiteY4" fmla="*/ 0 h 5773021"/>
              <a:gd name="connsiteX0" fmla="*/ 1482591 w 5814240"/>
              <a:gd name="connsiteY0" fmla="*/ 0 h 5773021"/>
              <a:gd name="connsiteX1" fmla="*/ 5814240 w 5814240"/>
              <a:gd name="connsiteY1" fmla="*/ 0 h 5773021"/>
              <a:gd name="connsiteX2" fmla="*/ 5814240 w 5814240"/>
              <a:gd name="connsiteY2" fmla="*/ 5773019 h 5773021"/>
              <a:gd name="connsiteX3" fmla="*/ 0 w 5814240"/>
              <a:gd name="connsiteY3" fmla="*/ 5773021 h 5773021"/>
              <a:gd name="connsiteX4" fmla="*/ 1482591 w 5814240"/>
              <a:gd name="connsiteY4" fmla="*/ 0 h 57730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14240" h="5773021">
                <a:moveTo>
                  <a:pt x="1482591" y="0"/>
                </a:moveTo>
                <a:lnTo>
                  <a:pt x="5814240" y="0"/>
                </a:lnTo>
                <a:lnTo>
                  <a:pt x="5814240" y="5773019"/>
                </a:lnTo>
                <a:lnTo>
                  <a:pt x="0" y="5773021"/>
                </a:lnTo>
                <a:lnTo>
                  <a:pt x="1482591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effectLst>
            <a:innerShdw blurRad="330200" dist="50800" dir="10800000">
              <a:prstClr val="black">
                <a:alpha val="40000"/>
              </a:prstClr>
            </a:innerShdw>
          </a:effectLst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FA66959-4347-E848-A358-86C339F0BD2D}"/>
              </a:ext>
            </a:extLst>
          </p:cNvPr>
          <p:cNvSpPr txBox="1"/>
          <p:nvPr userDrawn="1"/>
        </p:nvSpPr>
        <p:spPr>
          <a:xfrm>
            <a:off x="1836145" y="6632154"/>
            <a:ext cx="65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endParaRPr lang="ru-RU" sz="1200" dirty="0" err="1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" name="Номер слайда 3">
            <a:extLst>
              <a:ext uri="{FF2B5EF4-FFF2-40B4-BE49-F238E27FC236}">
                <a16:creationId xmlns:a16="http://schemas.microsoft.com/office/drawing/2014/main" id="{FB2FC57A-26C8-44B6-B146-23F34133B0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9576" y="6455903"/>
            <a:ext cx="1214424" cy="2308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50">
                <a:solidFill>
                  <a:schemeClr val="bg1"/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81122272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то справа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68651D85-208E-4EFB-B852-FE9A38347B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16465"/>
            <a:ext cx="6127751" cy="297962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9" name="Рисунок 8">
            <a:extLst>
              <a:ext uri="{FF2B5EF4-FFF2-40B4-BE49-F238E27FC236}">
                <a16:creationId xmlns:a16="http://schemas.microsoft.com/office/drawing/2014/main" id="{2E27A946-30F6-49C0-B0F3-7D4C6F80DB8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511825" y="2"/>
            <a:ext cx="7680177" cy="6857999"/>
          </a:xfrm>
          <a:custGeom>
            <a:avLst/>
            <a:gdLst>
              <a:gd name="connsiteX0" fmla="*/ 0 w 4780955"/>
              <a:gd name="connsiteY0" fmla="*/ 0 h 5773019"/>
              <a:gd name="connsiteX1" fmla="*/ 4780955 w 4780955"/>
              <a:gd name="connsiteY1" fmla="*/ 0 h 5773019"/>
              <a:gd name="connsiteX2" fmla="*/ 4780955 w 4780955"/>
              <a:gd name="connsiteY2" fmla="*/ 5773019 h 5773019"/>
              <a:gd name="connsiteX3" fmla="*/ 630376 w 4780955"/>
              <a:gd name="connsiteY3" fmla="*/ 5773019 h 5773019"/>
              <a:gd name="connsiteX0" fmla="*/ 0 w 4780955"/>
              <a:gd name="connsiteY0" fmla="*/ 0 h 5786343"/>
              <a:gd name="connsiteX1" fmla="*/ 4780955 w 4780955"/>
              <a:gd name="connsiteY1" fmla="*/ 0 h 5786343"/>
              <a:gd name="connsiteX2" fmla="*/ 4780955 w 4780955"/>
              <a:gd name="connsiteY2" fmla="*/ 5773019 h 5786343"/>
              <a:gd name="connsiteX3" fmla="*/ 1096154 w 4780955"/>
              <a:gd name="connsiteY3" fmla="*/ 5786343 h 5786343"/>
              <a:gd name="connsiteX4" fmla="*/ 630376 w 4780955"/>
              <a:gd name="connsiteY4" fmla="*/ 5773019 h 5786343"/>
              <a:gd name="connsiteX5" fmla="*/ 0 w 4780955"/>
              <a:gd name="connsiteY5" fmla="*/ 0 h 5786343"/>
              <a:gd name="connsiteX0" fmla="*/ 1363266 w 6144221"/>
              <a:gd name="connsiteY0" fmla="*/ 0 h 5795147"/>
              <a:gd name="connsiteX1" fmla="*/ 6144221 w 6144221"/>
              <a:gd name="connsiteY1" fmla="*/ 0 h 5795147"/>
              <a:gd name="connsiteX2" fmla="*/ 6144221 w 6144221"/>
              <a:gd name="connsiteY2" fmla="*/ 5773019 h 5795147"/>
              <a:gd name="connsiteX3" fmla="*/ 2459420 w 6144221"/>
              <a:gd name="connsiteY3" fmla="*/ 5786343 h 5795147"/>
              <a:gd name="connsiteX4" fmla="*/ 0 w 6144221"/>
              <a:gd name="connsiteY4" fmla="*/ 5795147 h 5795147"/>
              <a:gd name="connsiteX5" fmla="*/ 1363266 w 6144221"/>
              <a:gd name="connsiteY5" fmla="*/ 0 h 5795147"/>
              <a:gd name="connsiteX0" fmla="*/ 1363266 w 6144221"/>
              <a:gd name="connsiteY0" fmla="*/ 0 h 5795147"/>
              <a:gd name="connsiteX1" fmla="*/ 6144221 w 6144221"/>
              <a:gd name="connsiteY1" fmla="*/ 0 h 5795147"/>
              <a:gd name="connsiteX2" fmla="*/ 6144221 w 6144221"/>
              <a:gd name="connsiteY2" fmla="*/ 5773019 h 5795147"/>
              <a:gd name="connsiteX3" fmla="*/ 0 w 6144221"/>
              <a:gd name="connsiteY3" fmla="*/ 5795147 h 5795147"/>
              <a:gd name="connsiteX4" fmla="*/ 1363266 w 6144221"/>
              <a:gd name="connsiteY4" fmla="*/ 0 h 5795147"/>
              <a:gd name="connsiteX0" fmla="*/ 1074532 w 5855487"/>
              <a:gd name="connsiteY0" fmla="*/ 0 h 5773019"/>
              <a:gd name="connsiteX1" fmla="*/ 5855487 w 5855487"/>
              <a:gd name="connsiteY1" fmla="*/ 0 h 5773019"/>
              <a:gd name="connsiteX2" fmla="*/ 5855487 w 5855487"/>
              <a:gd name="connsiteY2" fmla="*/ 5773019 h 5773019"/>
              <a:gd name="connsiteX3" fmla="*/ 0 w 5855487"/>
              <a:gd name="connsiteY3" fmla="*/ 5750892 h 5773019"/>
              <a:gd name="connsiteX4" fmla="*/ 1074532 w 5855487"/>
              <a:gd name="connsiteY4" fmla="*/ 0 h 5773019"/>
              <a:gd name="connsiteX0" fmla="*/ 1047034 w 5827989"/>
              <a:gd name="connsiteY0" fmla="*/ 0 h 5784084"/>
              <a:gd name="connsiteX1" fmla="*/ 5827989 w 5827989"/>
              <a:gd name="connsiteY1" fmla="*/ 0 h 5784084"/>
              <a:gd name="connsiteX2" fmla="*/ 5827989 w 5827989"/>
              <a:gd name="connsiteY2" fmla="*/ 5773019 h 5784084"/>
              <a:gd name="connsiteX3" fmla="*/ 0 w 5827989"/>
              <a:gd name="connsiteY3" fmla="*/ 5784084 h 5784084"/>
              <a:gd name="connsiteX4" fmla="*/ 1047034 w 5827989"/>
              <a:gd name="connsiteY4" fmla="*/ 0 h 5784084"/>
              <a:gd name="connsiteX0" fmla="*/ 1033285 w 5814240"/>
              <a:gd name="connsiteY0" fmla="*/ 0 h 5773021"/>
              <a:gd name="connsiteX1" fmla="*/ 5814240 w 5814240"/>
              <a:gd name="connsiteY1" fmla="*/ 0 h 5773021"/>
              <a:gd name="connsiteX2" fmla="*/ 5814240 w 5814240"/>
              <a:gd name="connsiteY2" fmla="*/ 5773019 h 5773021"/>
              <a:gd name="connsiteX3" fmla="*/ 0 w 5814240"/>
              <a:gd name="connsiteY3" fmla="*/ 5773021 h 5773021"/>
              <a:gd name="connsiteX4" fmla="*/ 1033285 w 5814240"/>
              <a:gd name="connsiteY4" fmla="*/ 0 h 57730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14240" h="5773021">
                <a:moveTo>
                  <a:pt x="1033285" y="0"/>
                </a:moveTo>
                <a:lnTo>
                  <a:pt x="5814240" y="0"/>
                </a:lnTo>
                <a:lnTo>
                  <a:pt x="5814240" y="5773019"/>
                </a:lnTo>
                <a:lnTo>
                  <a:pt x="0" y="5773021"/>
                </a:lnTo>
                <a:lnTo>
                  <a:pt x="1033285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effectLst>
            <a:innerShdw blurRad="330200" dist="50800" dir="10800000">
              <a:prstClr val="black">
                <a:alpha val="40000"/>
              </a:prstClr>
            </a:innerShdw>
          </a:effectLst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5" name="Номер слайда 3">
            <a:extLst>
              <a:ext uri="{FF2B5EF4-FFF2-40B4-BE49-F238E27FC236}">
                <a16:creationId xmlns:a16="http://schemas.microsoft.com/office/drawing/2014/main" id="{B1F7E2A0-17FC-4DDB-9260-F4D4B305DF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9576" y="6455903"/>
            <a:ext cx="1214424" cy="2308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50">
                <a:solidFill>
                  <a:schemeClr val="bg1"/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9905574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Рисунок 3">
            <a:extLst>
              <a:ext uri="{FF2B5EF4-FFF2-40B4-BE49-F238E27FC236}">
                <a16:creationId xmlns:a16="http://schemas.microsoft.com/office/drawing/2014/main" id="{4D13F6A0-1435-45CC-AA70-5A9B1984274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058770" y="1089025"/>
            <a:ext cx="3725230" cy="52197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innerShdw blurRad="241300" dist="50800" dir="10800000">
              <a:prstClr val="black">
                <a:alpha val="47000"/>
              </a:prstClr>
            </a:innerShdw>
          </a:effectLst>
        </p:spPr>
        <p:txBody>
          <a:bodyPr anchor="ctr"/>
          <a:lstStyle>
            <a:lvl1pPr marL="0" indent="0" algn="ctr">
              <a:buNone/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17" name="Рисунок 3">
            <a:extLst>
              <a:ext uri="{FF2B5EF4-FFF2-40B4-BE49-F238E27FC236}">
                <a16:creationId xmlns:a16="http://schemas.microsoft.com/office/drawing/2014/main" id="{E49B0927-0DF3-4EA6-8E6A-8566B73B551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233385" y="1089025"/>
            <a:ext cx="3725230" cy="52197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innerShdw blurRad="241300" dist="50800" dir="10800000">
              <a:prstClr val="black">
                <a:alpha val="47000"/>
              </a:prstClr>
            </a:innerShdw>
          </a:effectLst>
        </p:spPr>
        <p:txBody>
          <a:bodyPr anchor="ctr"/>
          <a:lstStyle>
            <a:lvl1pPr marL="0" indent="0" algn="ctr">
              <a:buNone/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16" name="Рисунок 3">
            <a:extLst>
              <a:ext uri="{FF2B5EF4-FFF2-40B4-BE49-F238E27FC236}">
                <a16:creationId xmlns:a16="http://schemas.microsoft.com/office/drawing/2014/main" id="{494C496B-4D71-480F-81D7-5164A7EC843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07988" y="1089025"/>
            <a:ext cx="3725230" cy="52197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38279FAF-2C60-4C4B-B4E7-6F411F8763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16465"/>
            <a:ext cx="10080500" cy="297962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7" name="Номер слайда 3">
            <a:extLst>
              <a:ext uri="{FF2B5EF4-FFF2-40B4-BE49-F238E27FC236}">
                <a16:creationId xmlns:a16="http://schemas.microsoft.com/office/drawing/2014/main" id="{01050C9A-46D3-43D5-AC1E-77E1B481482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9576" y="6455903"/>
            <a:ext cx="1214424" cy="2308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5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150375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3">
            <a:extLst>
              <a:ext uri="{FF2B5EF4-FFF2-40B4-BE49-F238E27FC236}">
                <a16:creationId xmlns:a16="http://schemas.microsoft.com/office/drawing/2014/main" id="{E0E688BE-F902-4A20-9F64-B6486C2AC1E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854439"/>
            <a:ext cx="6096000" cy="299028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19" name="Рисунок 3">
            <a:extLst>
              <a:ext uri="{FF2B5EF4-FFF2-40B4-BE49-F238E27FC236}">
                <a16:creationId xmlns:a16="http://schemas.microsoft.com/office/drawing/2014/main" id="{23B7984E-9797-40F5-94D2-9D4C20DB768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096000" y="854439"/>
            <a:ext cx="6096000" cy="299028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20" name="Рисунок 3">
            <a:extLst>
              <a:ext uri="{FF2B5EF4-FFF2-40B4-BE49-F238E27FC236}">
                <a16:creationId xmlns:a16="http://schemas.microsoft.com/office/drawing/2014/main" id="{38A976E1-BAA4-4CC6-BB42-ED758E8674A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3844732"/>
            <a:ext cx="6096000" cy="301326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21" name="Рисунок 3">
            <a:extLst>
              <a:ext uri="{FF2B5EF4-FFF2-40B4-BE49-F238E27FC236}">
                <a16:creationId xmlns:a16="http://schemas.microsoft.com/office/drawing/2014/main" id="{D73CEDD6-5C83-4A20-8D3D-9D58FE191B5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3844719"/>
            <a:ext cx="6096000" cy="30116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5" name="Заголовок 4">
            <a:extLst>
              <a:ext uri="{FF2B5EF4-FFF2-40B4-BE49-F238E27FC236}">
                <a16:creationId xmlns:a16="http://schemas.microsoft.com/office/drawing/2014/main" id="{DB94279E-A9EC-4144-93F7-C3F231A9C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8" name="Номер слайда 3">
            <a:extLst>
              <a:ext uri="{FF2B5EF4-FFF2-40B4-BE49-F238E27FC236}">
                <a16:creationId xmlns:a16="http://schemas.microsoft.com/office/drawing/2014/main" id="{6E8728F2-C6B1-4F4E-9535-F11CEF6441F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9576" y="6455903"/>
            <a:ext cx="1214424" cy="2308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5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2239937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3">
            <a:extLst>
              <a:ext uri="{FF2B5EF4-FFF2-40B4-BE49-F238E27FC236}">
                <a16:creationId xmlns:a16="http://schemas.microsoft.com/office/drawing/2014/main" id="{E0E688BE-F902-4A20-9F64-B6486C2AC1E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064000" y="847153"/>
            <a:ext cx="4064000" cy="302077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20" name="Рисунок 3">
            <a:extLst>
              <a:ext uri="{FF2B5EF4-FFF2-40B4-BE49-F238E27FC236}">
                <a16:creationId xmlns:a16="http://schemas.microsoft.com/office/drawing/2014/main" id="{38A976E1-BAA4-4CC6-BB42-ED758E8674A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064000" y="3867926"/>
            <a:ext cx="4064000" cy="299007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CE936E8D-7CE9-4FD0-AFAA-FC4FB40C00A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629F11A-CAD2-4FD2-9793-0DC6E98D19B3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5" name="Заголовок 4">
            <a:extLst>
              <a:ext uri="{FF2B5EF4-FFF2-40B4-BE49-F238E27FC236}">
                <a16:creationId xmlns:a16="http://schemas.microsoft.com/office/drawing/2014/main" id="{DB94279E-A9EC-4144-93F7-C3F231A9C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8" name="Рисунок 3">
            <a:extLst>
              <a:ext uri="{FF2B5EF4-FFF2-40B4-BE49-F238E27FC236}">
                <a16:creationId xmlns:a16="http://schemas.microsoft.com/office/drawing/2014/main" id="{6156F234-5346-4B46-A1A0-027C6E9DE0E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847153"/>
            <a:ext cx="4064000" cy="302077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9" name="Рисунок 3">
            <a:extLst>
              <a:ext uri="{FF2B5EF4-FFF2-40B4-BE49-F238E27FC236}">
                <a16:creationId xmlns:a16="http://schemas.microsoft.com/office/drawing/2014/main" id="{124C0465-96DF-4176-8136-B9D81FF3106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3867926"/>
            <a:ext cx="4064000" cy="299007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12" name="Рисунок 3">
            <a:extLst>
              <a:ext uri="{FF2B5EF4-FFF2-40B4-BE49-F238E27FC236}">
                <a16:creationId xmlns:a16="http://schemas.microsoft.com/office/drawing/2014/main" id="{0E75AFA0-CDCE-40E2-AD27-5536065593FD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128000" y="847153"/>
            <a:ext cx="4064000" cy="302077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13" name="Рисунок 3">
            <a:extLst>
              <a:ext uri="{FF2B5EF4-FFF2-40B4-BE49-F238E27FC236}">
                <a16:creationId xmlns:a16="http://schemas.microsoft.com/office/drawing/2014/main" id="{2AA5E258-DCA7-4F47-ADB1-120FC237BA7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128000" y="3867926"/>
            <a:ext cx="4064000" cy="299007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4857194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3">
            <a:extLst>
              <a:ext uri="{FF2B5EF4-FFF2-40B4-BE49-F238E27FC236}">
                <a16:creationId xmlns:a16="http://schemas.microsoft.com/office/drawing/2014/main" id="{E0E688BE-F902-4A20-9F64-B6486C2AC1E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048000" y="854440"/>
            <a:ext cx="3048000" cy="305332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20" name="Рисунок 3">
            <a:extLst>
              <a:ext uri="{FF2B5EF4-FFF2-40B4-BE49-F238E27FC236}">
                <a16:creationId xmlns:a16="http://schemas.microsoft.com/office/drawing/2014/main" id="{38A976E1-BAA4-4CC6-BB42-ED758E8674A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048000" y="3907763"/>
            <a:ext cx="3048000" cy="295023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CE936E8D-7CE9-4FD0-AFAA-FC4FB40C00A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629F11A-CAD2-4FD2-9793-0DC6E98D19B3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5" name="Заголовок 4">
            <a:extLst>
              <a:ext uri="{FF2B5EF4-FFF2-40B4-BE49-F238E27FC236}">
                <a16:creationId xmlns:a16="http://schemas.microsoft.com/office/drawing/2014/main" id="{DB94279E-A9EC-4144-93F7-C3F231A9C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8" name="Рисунок 3">
            <a:extLst>
              <a:ext uri="{FF2B5EF4-FFF2-40B4-BE49-F238E27FC236}">
                <a16:creationId xmlns:a16="http://schemas.microsoft.com/office/drawing/2014/main" id="{6156F234-5346-4B46-A1A0-027C6E9DE0E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854440"/>
            <a:ext cx="3048000" cy="305332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9" name="Рисунок 3">
            <a:extLst>
              <a:ext uri="{FF2B5EF4-FFF2-40B4-BE49-F238E27FC236}">
                <a16:creationId xmlns:a16="http://schemas.microsoft.com/office/drawing/2014/main" id="{124C0465-96DF-4176-8136-B9D81FF3106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3907763"/>
            <a:ext cx="3048000" cy="295023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10" name="Рисунок 3">
            <a:extLst>
              <a:ext uri="{FF2B5EF4-FFF2-40B4-BE49-F238E27FC236}">
                <a16:creationId xmlns:a16="http://schemas.microsoft.com/office/drawing/2014/main" id="{81DC648D-520B-4661-B453-8BCDC6AEB9A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9144000" y="854440"/>
            <a:ext cx="3048000" cy="305332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11" name="Рисунок 3">
            <a:extLst>
              <a:ext uri="{FF2B5EF4-FFF2-40B4-BE49-F238E27FC236}">
                <a16:creationId xmlns:a16="http://schemas.microsoft.com/office/drawing/2014/main" id="{5E764785-3004-4AA2-B3DD-774E489A2ED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144000" y="3907763"/>
            <a:ext cx="3048000" cy="295023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12" name="Рисунок 3">
            <a:extLst>
              <a:ext uri="{FF2B5EF4-FFF2-40B4-BE49-F238E27FC236}">
                <a16:creationId xmlns:a16="http://schemas.microsoft.com/office/drawing/2014/main" id="{0E75AFA0-CDCE-40E2-AD27-5536065593FD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096000" y="854440"/>
            <a:ext cx="3048000" cy="305332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13" name="Рисунок 3">
            <a:extLst>
              <a:ext uri="{FF2B5EF4-FFF2-40B4-BE49-F238E27FC236}">
                <a16:creationId xmlns:a16="http://schemas.microsoft.com/office/drawing/2014/main" id="{2AA5E258-DCA7-4F47-ADB1-120FC237BA7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096000" y="3907763"/>
            <a:ext cx="3048000" cy="295023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73274482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 фото люде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40" name="Номер слайда 3">
            <a:extLst>
              <a:ext uri="{FF2B5EF4-FFF2-40B4-BE49-F238E27FC236}">
                <a16:creationId xmlns:a16="http://schemas.microsoft.com/office/drawing/2014/main" id="{A8B825E9-3CE9-449C-A43E-4066530567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9576" y="6455903"/>
            <a:ext cx="1214424" cy="2308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5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grpSp>
        <p:nvGrpSpPr>
          <p:cNvPr id="43" name="Группа 42">
            <a:extLst>
              <a:ext uri="{FF2B5EF4-FFF2-40B4-BE49-F238E27FC236}">
                <a16:creationId xmlns:a16="http://schemas.microsoft.com/office/drawing/2014/main" id="{9830B810-DF48-4ABA-80FB-35B4D8562FCE}"/>
              </a:ext>
            </a:extLst>
          </p:cNvPr>
          <p:cNvGrpSpPr/>
          <p:nvPr userDrawn="1"/>
        </p:nvGrpSpPr>
        <p:grpSpPr>
          <a:xfrm>
            <a:off x="4142616" y="1331778"/>
            <a:ext cx="1131366" cy="1131366"/>
            <a:chOff x="6075594" y="3202141"/>
            <a:chExt cx="1131366" cy="1131366"/>
          </a:xfrm>
        </p:grpSpPr>
        <p:sp>
          <p:nvSpPr>
            <p:cNvPr id="44" name="Овал 43">
              <a:extLst>
                <a:ext uri="{FF2B5EF4-FFF2-40B4-BE49-F238E27FC236}">
                  <a16:creationId xmlns:a16="http://schemas.microsoft.com/office/drawing/2014/main" id="{71B9DBE6-B874-4A57-978A-6070529554DE}"/>
                </a:ext>
              </a:extLst>
            </p:cNvPr>
            <p:cNvSpPr/>
            <p:nvPr/>
          </p:nvSpPr>
          <p:spPr>
            <a:xfrm rot="16200000" flipH="1">
              <a:off x="6168251" y="3294799"/>
              <a:ext cx="946052" cy="946052"/>
            </a:xfrm>
            <a:prstGeom prst="ellipse">
              <a:avLst/>
            </a:prstGeom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lumMod val="50000"/>
                  </a:schemeClr>
                </a:gs>
              </a:gsLst>
              <a:lin ang="2700000" scaled="1"/>
              <a:tileRect/>
            </a:gradFill>
            <a:ln w="38100" cap="flat">
              <a:solidFill>
                <a:schemeClr val="bg1"/>
              </a:solidFill>
              <a:prstDash val="solid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tlCol="0" anchor="ctr"/>
            <a:lstStyle/>
            <a:p>
              <a:pPr algn="ctr" defTabSz="514363">
                <a:defRPr/>
              </a:pPr>
              <a:endParaRPr lang="ru-RU" sz="1013">
                <a:solidFill>
                  <a:srgbClr val="223051"/>
                </a:solidFill>
                <a:latin typeface="Play"/>
              </a:endParaRPr>
            </a:p>
          </p:txBody>
        </p:sp>
        <p:sp>
          <p:nvSpPr>
            <p:cNvPr id="45" name="Овал 44">
              <a:extLst>
                <a:ext uri="{FF2B5EF4-FFF2-40B4-BE49-F238E27FC236}">
                  <a16:creationId xmlns:a16="http://schemas.microsoft.com/office/drawing/2014/main" id="{AD6DFC6E-1B92-45F2-A13B-4055964CC6A6}"/>
                </a:ext>
              </a:extLst>
            </p:cNvPr>
            <p:cNvSpPr/>
            <p:nvPr/>
          </p:nvSpPr>
          <p:spPr>
            <a:xfrm>
              <a:off x="6075594" y="3202141"/>
              <a:ext cx="1131366" cy="1131366"/>
            </a:xfrm>
            <a:prstGeom prst="ellipse">
              <a:avLst/>
            </a:prstGeom>
            <a:noFill/>
            <a:ln>
              <a:gradFill flip="none" rotWithShape="1">
                <a:gsLst>
                  <a:gs pos="0">
                    <a:schemeClr val="accent1">
                      <a:alpha val="70000"/>
                    </a:schemeClr>
                  </a:gs>
                  <a:gs pos="100000">
                    <a:schemeClr val="accent4">
                      <a:alpha val="70000"/>
                    </a:schemeClr>
                  </a:gs>
                </a:gsLst>
                <a:lin ang="0" scaled="1"/>
                <a:tileRect/>
              </a:gradFill>
              <a:prstDash val="sysDot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6" name="Группа 45">
            <a:extLst>
              <a:ext uri="{FF2B5EF4-FFF2-40B4-BE49-F238E27FC236}">
                <a16:creationId xmlns:a16="http://schemas.microsoft.com/office/drawing/2014/main" id="{3F76EDD8-4360-421B-AD78-1331149B1998}"/>
              </a:ext>
            </a:extLst>
          </p:cNvPr>
          <p:cNvGrpSpPr/>
          <p:nvPr userDrawn="1"/>
        </p:nvGrpSpPr>
        <p:grpSpPr>
          <a:xfrm>
            <a:off x="4142616" y="5086359"/>
            <a:ext cx="1131366" cy="1131366"/>
            <a:chOff x="6075594" y="3202141"/>
            <a:chExt cx="1131366" cy="1131366"/>
          </a:xfrm>
        </p:grpSpPr>
        <p:sp>
          <p:nvSpPr>
            <p:cNvPr id="47" name="Овал 46">
              <a:extLst>
                <a:ext uri="{FF2B5EF4-FFF2-40B4-BE49-F238E27FC236}">
                  <a16:creationId xmlns:a16="http://schemas.microsoft.com/office/drawing/2014/main" id="{42EBE76A-27BB-4221-B583-5B101630D904}"/>
                </a:ext>
              </a:extLst>
            </p:cNvPr>
            <p:cNvSpPr/>
            <p:nvPr/>
          </p:nvSpPr>
          <p:spPr>
            <a:xfrm rot="16200000" flipH="1">
              <a:off x="6168251" y="3294799"/>
              <a:ext cx="946052" cy="946052"/>
            </a:xfrm>
            <a:prstGeom prst="ellipse">
              <a:avLst/>
            </a:prstGeom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lumMod val="50000"/>
                  </a:schemeClr>
                </a:gs>
              </a:gsLst>
              <a:lin ang="2700000" scaled="1"/>
              <a:tileRect/>
            </a:gradFill>
            <a:ln w="38100" cap="flat">
              <a:solidFill>
                <a:schemeClr val="bg1"/>
              </a:solidFill>
              <a:prstDash val="solid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tlCol="0" anchor="ctr"/>
            <a:lstStyle/>
            <a:p>
              <a:pPr algn="ctr" defTabSz="514363">
                <a:defRPr/>
              </a:pPr>
              <a:endParaRPr lang="ru-RU" sz="1013">
                <a:solidFill>
                  <a:srgbClr val="223051"/>
                </a:solidFill>
                <a:latin typeface="Play"/>
              </a:endParaRPr>
            </a:p>
          </p:txBody>
        </p:sp>
        <p:sp>
          <p:nvSpPr>
            <p:cNvPr id="48" name="Овал 47">
              <a:extLst>
                <a:ext uri="{FF2B5EF4-FFF2-40B4-BE49-F238E27FC236}">
                  <a16:creationId xmlns:a16="http://schemas.microsoft.com/office/drawing/2014/main" id="{A911FA29-3E52-461D-9CBC-BFD746B88F40}"/>
                </a:ext>
              </a:extLst>
            </p:cNvPr>
            <p:cNvSpPr/>
            <p:nvPr/>
          </p:nvSpPr>
          <p:spPr>
            <a:xfrm>
              <a:off x="6075594" y="3202141"/>
              <a:ext cx="1131366" cy="1131366"/>
            </a:xfrm>
            <a:prstGeom prst="ellipse">
              <a:avLst/>
            </a:prstGeom>
            <a:noFill/>
            <a:ln>
              <a:gradFill flip="none" rotWithShape="1">
                <a:gsLst>
                  <a:gs pos="0">
                    <a:schemeClr val="accent1">
                      <a:alpha val="70000"/>
                    </a:schemeClr>
                  </a:gs>
                  <a:gs pos="100000">
                    <a:schemeClr val="accent4">
                      <a:alpha val="70000"/>
                    </a:schemeClr>
                  </a:gs>
                </a:gsLst>
                <a:lin ang="0" scaled="1"/>
                <a:tileRect/>
              </a:gradFill>
              <a:prstDash val="sysDot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73" name="Группа 72">
            <a:extLst>
              <a:ext uri="{FF2B5EF4-FFF2-40B4-BE49-F238E27FC236}">
                <a16:creationId xmlns:a16="http://schemas.microsoft.com/office/drawing/2014/main" id="{8477815A-9372-4166-8C53-ADB14182CF3E}"/>
              </a:ext>
            </a:extLst>
          </p:cNvPr>
          <p:cNvGrpSpPr/>
          <p:nvPr userDrawn="1"/>
        </p:nvGrpSpPr>
        <p:grpSpPr>
          <a:xfrm>
            <a:off x="4142616" y="3209069"/>
            <a:ext cx="1131366" cy="1131366"/>
            <a:chOff x="6075594" y="3202141"/>
            <a:chExt cx="1131366" cy="1131366"/>
          </a:xfrm>
        </p:grpSpPr>
        <p:sp>
          <p:nvSpPr>
            <p:cNvPr id="74" name="Овал 73">
              <a:extLst>
                <a:ext uri="{FF2B5EF4-FFF2-40B4-BE49-F238E27FC236}">
                  <a16:creationId xmlns:a16="http://schemas.microsoft.com/office/drawing/2014/main" id="{BE6C9B0B-994E-4789-8998-5C6B255DA2D5}"/>
                </a:ext>
              </a:extLst>
            </p:cNvPr>
            <p:cNvSpPr/>
            <p:nvPr/>
          </p:nvSpPr>
          <p:spPr>
            <a:xfrm rot="16200000" flipH="1">
              <a:off x="6168251" y="3294799"/>
              <a:ext cx="946052" cy="946052"/>
            </a:xfrm>
            <a:prstGeom prst="ellipse">
              <a:avLst/>
            </a:prstGeom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lumMod val="50000"/>
                  </a:schemeClr>
                </a:gs>
              </a:gsLst>
              <a:lin ang="2700000" scaled="1"/>
              <a:tileRect/>
            </a:gradFill>
            <a:ln w="38100" cap="flat">
              <a:solidFill>
                <a:schemeClr val="bg1"/>
              </a:solidFill>
              <a:prstDash val="solid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tlCol="0" anchor="ctr"/>
            <a:lstStyle/>
            <a:p>
              <a:pPr algn="ctr" defTabSz="514363">
                <a:defRPr/>
              </a:pPr>
              <a:endParaRPr lang="ru-RU" sz="1013">
                <a:solidFill>
                  <a:srgbClr val="223051"/>
                </a:solidFill>
                <a:latin typeface="Play"/>
              </a:endParaRPr>
            </a:p>
          </p:txBody>
        </p:sp>
        <p:sp>
          <p:nvSpPr>
            <p:cNvPr id="75" name="Овал 74">
              <a:extLst>
                <a:ext uri="{FF2B5EF4-FFF2-40B4-BE49-F238E27FC236}">
                  <a16:creationId xmlns:a16="http://schemas.microsoft.com/office/drawing/2014/main" id="{B2617822-A962-4450-A28B-B7CA8D324B9F}"/>
                </a:ext>
              </a:extLst>
            </p:cNvPr>
            <p:cNvSpPr/>
            <p:nvPr/>
          </p:nvSpPr>
          <p:spPr>
            <a:xfrm>
              <a:off x="6075594" y="3202141"/>
              <a:ext cx="1131366" cy="1131366"/>
            </a:xfrm>
            <a:prstGeom prst="ellipse">
              <a:avLst/>
            </a:prstGeom>
            <a:noFill/>
            <a:ln>
              <a:gradFill flip="none" rotWithShape="1">
                <a:gsLst>
                  <a:gs pos="0">
                    <a:schemeClr val="accent1">
                      <a:alpha val="70000"/>
                    </a:schemeClr>
                  </a:gs>
                  <a:gs pos="100000">
                    <a:schemeClr val="accent4">
                      <a:alpha val="70000"/>
                    </a:schemeClr>
                  </a:gs>
                </a:gsLst>
                <a:lin ang="0" scaled="1"/>
                <a:tileRect/>
              </a:gradFill>
              <a:prstDash val="sysDot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76" name="Группа 75">
            <a:extLst>
              <a:ext uri="{FF2B5EF4-FFF2-40B4-BE49-F238E27FC236}">
                <a16:creationId xmlns:a16="http://schemas.microsoft.com/office/drawing/2014/main" id="{9EB7F262-5179-4A70-8E18-EAC450B7BD78}"/>
              </a:ext>
            </a:extLst>
          </p:cNvPr>
          <p:cNvGrpSpPr/>
          <p:nvPr userDrawn="1"/>
        </p:nvGrpSpPr>
        <p:grpSpPr>
          <a:xfrm>
            <a:off x="409085" y="1331778"/>
            <a:ext cx="1131366" cy="1131366"/>
            <a:chOff x="6075594" y="3202141"/>
            <a:chExt cx="1131366" cy="1131366"/>
          </a:xfrm>
        </p:grpSpPr>
        <p:sp>
          <p:nvSpPr>
            <p:cNvPr id="77" name="Овал 76">
              <a:extLst>
                <a:ext uri="{FF2B5EF4-FFF2-40B4-BE49-F238E27FC236}">
                  <a16:creationId xmlns:a16="http://schemas.microsoft.com/office/drawing/2014/main" id="{BF1089C5-282F-409C-AE1F-2FE4264DA2AB}"/>
                </a:ext>
              </a:extLst>
            </p:cNvPr>
            <p:cNvSpPr/>
            <p:nvPr/>
          </p:nvSpPr>
          <p:spPr>
            <a:xfrm rot="16200000" flipH="1">
              <a:off x="6168251" y="3294799"/>
              <a:ext cx="946052" cy="946052"/>
            </a:xfrm>
            <a:prstGeom prst="ellipse">
              <a:avLst/>
            </a:prstGeom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lumMod val="50000"/>
                  </a:schemeClr>
                </a:gs>
              </a:gsLst>
              <a:lin ang="2700000" scaled="1"/>
              <a:tileRect/>
            </a:gradFill>
            <a:ln w="38100" cap="flat">
              <a:solidFill>
                <a:schemeClr val="bg1"/>
              </a:solidFill>
              <a:prstDash val="solid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tlCol="0" anchor="ctr"/>
            <a:lstStyle/>
            <a:p>
              <a:pPr algn="ctr" defTabSz="514363">
                <a:defRPr/>
              </a:pPr>
              <a:endParaRPr lang="ru-RU" sz="1013">
                <a:solidFill>
                  <a:srgbClr val="223051"/>
                </a:solidFill>
                <a:latin typeface="Play"/>
              </a:endParaRPr>
            </a:p>
          </p:txBody>
        </p:sp>
        <p:sp>
          <p:nvSpPr>
            <p:cNvPr id="78" name="Овал 77">
              <a:extLst>
                <a:ext uri="{FF2B5EF4-FFF2-40B4-BE49-F238E27FC236}">
                  <a16:creationId xmlns:a16="http://schemas.microsoft.com/office/drawing/2014/main" id="{B47E478B-B517-40F2-8369-48E0A25C2842}"/>
                </a:ext>
              </a:extLst>
            </p:cNvPr>
            <p:cNvSpPr/>
            <p:nvPr/>
          </p:nvSpPr>
          <p:spPr>
            <a:xfrm>
              <a:off x="6075594" y="3202141"/>
              <a:ext cx="1131366" cy="1131366"/>
            </a:xfrm>
            <a:prstGeom prst="ellipse">
              <a:avLst/>
            </a:prstGeom>
            <a:noFill/>
            <a:ln>
              <a:gradFill flip="none" rotWithShape="1">
                <a:gsLst>
                  <a:gs pos="0">
                    <a:schemeClr val="accent1">
                      <a:alpha val="70000"/>
                    </a:schemeClr>
                  </a:gs>
                  <a:gs pos="100000">
                    <a:schemeClr val="accent4">
                      <a:alpha val="70000"/>
                    </a:schemeClr>
                  </a:gs>
                </a:gsLst>
                <a:lin ang="0" scaled="1"/>
                <a:tileRect/>
              </a:gradFill>
              <a:prstDash val="sysDot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79" name="Группа 78">
            <a:extLst>
              <a:ext uri="{FF2B5EF4-FFF2-40B4-BE49-F238E27FC236}">
                <a16:creationId xmlns:a16="http://schemas.microsoft.com/office/drawing/2014/main" id="{F34F23CE-FE4F-48DF-B548-4C6A4AF87AB5}"/>
              </a:ext>
            </a:extLst>
          </p:cNvPr>
          <p:cNvGrpSpPr/>
          <p:nvPr userDrawn="1"/>
        </p:nvGrpSpPr>
        <p:grpSpPr>
          <a:xfrm>
            <a:off x="409085" y="5086359"/>
            <a:ext cx="1131366" cy="1131366"/>
            <a:chOff x="6075594" y="3202141"/>
            <a:chExt cx="1131366" cy="1131366"/>
          </a:xfrm>
        </p:grpSpPr>
        <p:sp>
          <p:nvSpPr>
            <p:cNvPr id="80" name="Овал 79">
              <a:extLst>
                <a:ext uri="{FF2B5EF4-FFF2-40B4-BE49-F238E27FC236}">
                  <a16:creationId xmlns:a16="http://schemas.microsoft.com/office/drawing/2014/main" id="{DB2AB282-F5F2-41C4-A5E2-55AAA1116E95}"/>
                </a:ext>
              </a:extLst>
            </p:cNvPr>
            <p:cNvSpPr/>
            <p:nvPr/>
          </p:nvSpPr>
          <p:spPr>
            <a:xfrm rot="16200000" flipH="1">
              <a:off x="6168251" y="3294799"/>
              <a:ext cx="946052" cy="946052"/>
            </a:xfrm>
            <a:prstGeom prst="ellipse">
              <a:avLst/>
            </a:prstGeom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lumMod val="50000"/>
                  </a:schemeClr>
                </a:gs>
              </a:gsLst>
              <a:lin ang="2700000" scaled="1"/>
              <a:tileRect/>
            </a:gradFill>
            <a:ln w="38100" cap="flat">
              <a:solidFill>
                <a:schemeClr val="bg1"/>
              </a:solidFill>
              <a:prstDash val="solid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tlCol="0" anchor="ctr"/>
            <a:lstStyle/>
            <a:p>
              <a:pPr algn="ctr" defTabSz="514363">
                <a:defRPr/>
              </a:pPr>
              <a:endParaRPr lang="ru-RU" sz="1013">
                <a:solidFill>
                  <a:srgbClr val="223051"/>
                </a:solidFill>
                <a:latin typeface="Play"/>
              </a:endParaRPr>
            </a:p>
          </p:txBody>
        </p:sp>
        <p:sp>
          <p:nvSpPr>
            <p:cNvPr id="81" name="Овал 80">
              <a:extLst>
                <a:ext uri="{FF2B5EF4-FFF2-40B4-BE49-F238E27FC236}">
                  <a16:creationId xmlns:a16="http://schemas.microsoft.com/office/drawing/2014/main" id="{BDD5CE27-89C7-4F9D-9EE0-5E83AB91F247}"/>
                </a:ext>
              </a:extLst>
            </p:cNvPr>
            <p:cNvSpPr/>
            <p:nvPr/>
          </p:nvSpPr>
          <p:spPr>
            <a:xfrm>
              <a:off x="6075594" y="3202141"/>
              <a:ext cx="1131366" cy="1131366"/>
            </a:xfrm>
            <a:prstGeom prst="ellipse">
              <a:avLst/>
            </a:prstGeom>
            <a:noFill/>
            <a:ln>
              <a:gradFill flip="none" rotWithShape="1">
                <a:gsLst>
                  <a:gs pos="0">
                    <a:schemeClr val="accent1">
                      <a:alpha val="70000"/>
                    </a:schemeClr>
                  </a:gs>
                  <a:gs pos="100000">
                    <a:schemeClr val="accent4">
                      <a:alpha val="70000"/>
                    </a:schemeClr>
                  </a:gs>
                </a:gsLst>
                <a:lin ang="0" scaled="1"/>
                <a:tileRect/>
              </a:gradFill>
              <a:prstDash val="sysDot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82" name="Группа 81">
            <a:extLst>
              <a:ext uri="{FF2B5EF4-FFF2-40B4-BE49-F238E27FC236}">
                <a16:creationId xmlns:a16="http://schemas.microsoft.com/office/drawing/2014/main" id="{3F2276E9-115C-4288-8F88-3AF249938BB5}"/>
              </a:ext>
            </a:extLst>
          </p:cNvPr>
          <p:cNvGrpSpPr/>
          <p:nvPr userDrawn="1"/>
        </p:nvGrpSpPr>
        <p:grpSpPr>
          <a:xfrm>
            <a:off x="409085" y="3209069"/>
            <a:ext cx="1131366" cy="1131366"/>
            <a:chOff x="6075594" y="3202141"/>
            <a:chExt cx="1131366" cy="1131366"/>
          </a:xfrm>
        </p:grpSpPr>
        <p:sp>
          <p:nvSpPr>
            <p:cNvPr id="83" name="Овал 82">
              <a:extLst>
                <a:ext uri="{FF2B5EF4-FFF2-40B4-BE49-F238E27FC236}">
                  <a16:creationId xmlns:a16="http://schemas.microsoft.com/office/drawing/2014/main" id="{3C39AB33-BED7-46E0-8A03-C62EB75C2040}"/>
                </a:ext>
              </a:extLst>
            </p:cNvPr>
            <p:cNvSpPr/>
            <p:nvPr/>
          </p:nvSpPr>
          <p:spPr>
            <a:xfrm rot="16200000" flipH="1">
              <a:off x="6168251" y="3294799"/>
              <a:ext cx="946052" cy="946052"/>
            </a:xfrm>
            <a:prstGeom prst="ellipse">
              <a:avLst/>
            </a:prstGeom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lumMod val="50000"/>
                  </a:schemeClr>
                </a:gs>
              </a:gsLst>
              <a:lin ang="2700000" scaled="1"/>
              <a:tileRect/>
            </a:gradFill>
            <a:ln w="38100" cap="flat">
              <a:solidFill>
                <a:schemeClr val="bg1"/>
              </a:solidFill>
              <a:prstDash val="solid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tlCol="0" anchor="ctr"/>
            <a:lstStyle/>
            <a:p>
              <a:pPr algn="ctr" defTabSz="514363">
                <a:defRPr/>
              </a:pPr>
              <a:endParaRPr lang="ru-RU" sz="1013">
                <a:solidFill>
                  <a:srgbClr val="223051"/>
                </a:solidFill>
                <a:latin typeface="Play"/>
              </a:endParaRPr>
            </a:p>
          </p:txBody>
        </p:sp>
        <p:sp>
          <p:nvSpPr>
            <p:cNvPr id="84" name="Овал 83">
              <a:extLst>
                <a:ext uri="{FF2B5EF4-FFF2-40B4-BE49-F238E27FC236}">
                  <a16:creationId xmlns:a16="http://schemas.microsoft.com/office/drawing/2014/main" id="{0B51711F-E857-461C-9CAF-0D6748B2435E}"/>
                </a:ext>
              </a:extLst>
            </p:cNvPr>
            <p:cNvSpPr/>
            <p:nvPr/>
          </p:nvSpPr>
          <p:spPr>
            <a:xfrm>
              <a:off x="6075594" y="3202141"/>
              <a:ext cx="1131366" cy="1131366"/>
            </a:xfrm>
            <a:prstGeom prst="ellipse">
              <a:avLst/>
            </a:prstGeom>
            <a:noFill/>
            <a:ln>
              <a:gradFill flip="none" rotWithShape="1">
                <a:gsLst>
                  <a:gs pos="0">
                    <a:schemeClr val="accent1">
                      <a:alpha val="70000"/>
                    </a:schemeClr>
                  </a:gs>
                  <a:gs pos="100000">
                    <a:schemeClr val="accent4">
                      <a:alpha val="70000"/>
                    </a:schemeClr>
                  </a:gs>
                </a:gsLst>
                <a:lin ang="0" scaled="1"/>
                <a:tileRect/>
              </a:gradFill>
              <a:prstDash val="sysDot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85" name="Группа 84">
            <a:extLst>
              <a:ext uri="{FF2B5EF4-FFF2-40B4-BE49-F238E27FC236}">
                <a16:creationId xmlns:a16="http://schemas.microsoft.com/office/drawing/2014/main" id="{A8309985-E8DA-493D-AA42-E0CB42087E0A}"/>
              </a:ext>
            </a:extLst>
          </p:cNvPr>
          <p:cNvGrpSpPr/>
          <p:nvPr userDrawn="1"/>
        </p:nvGrpSpPr>
        <p:grpSpPr>
          <a:xfrm>
            <a:off x="7880958" y="1331778"/>
            <a:ext cx="1131366" cy="1131366"/>
            <a:chOff x="6075594" y="3202141"/>
            <a:chExt cx="1131366" cy="1131366"/>
          </a:xfrm>
        </p:grpSpPr>
        <p:sp>
          <p:nvSpPr>
            <p:cNvPr id="86" name="Овал 85">
              <a:extLst>
                <a:ext uri="{FF2B5EF4-FFF2-40B4-BE49-F238E27FC236}">
                  <a16:creationId xmlns:a16="http://schemas.microsoft.com/office/drawing/2014/main" id="{F9100D86-305B-4AE6-93C5-003D9AB43E61}"/>
                </a:ext>
              </a:extLst>
            </p:cNvPr>
            <p:cNvSpPr/>
            <p:nvPr/>
          </p:nvSpPr>
          <p:spPr>
            <a:xfrm rot="16200000" flipH="1">
              <a:off x="6168251" y="3294799"/>
              <a:ext cx="946052" cy="946052"/>
            </a:xfrm>
            <a:prstGeom prst="ellipse">
              <a:avLst/>
            </a:prstGeom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lumMod val="50000"/>
                  </a:schemeClr>
                </a:gs>
              </a:gsLst>
              <a:lin ang="2700000" scaled="1"/>
              <a:tileRect/>
            </a:gradFill>
            <a:ln w="38100" cap="flat">
              <a:solidFill>
                <a:schemeClr val="bg1"/>
              </a:solidFill>
              <a:prstDash val="solid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tlCol="0" anchor="ctr"/>
            <a:lstStyle/>
            <a:p>
              <a:pPr algn="ctr" defTabSz="514363">
                <a:defRPr/>
              </a:pPr>
              <a:endParaRPr lang="ru-RU" sz="1013">
                <a:solidFill>
                  <a:srgbClr val="223051"/>
                </a:solidFill>
                <a:latin typeface="Play"/>
              </a:endParaRPr>
            </a:p>
          </p:txBody>
        </p:sp>
        <p:sp>
          <p:nvSpPr>
            <p:cNvPr id="87" name="Овал 86">
              <a:extLst>
                <a:ext uri="{FF2B5EF4-FFF2-40B4-BE49-F238E27FC236}">
                  <a16:creationId xmlns:a16="http://schemas.microsoft.com/office/drawing/2014/main" id="{DAB004F2-6220-4762-AC38-CB70C48C022F}"/>
                </a:ext>
              </a:extLst>
            </p:cNvPr>
            <p:cNvSpPr/>
            <p:nvPr/>
          </p:nvSpPr>
          <p:spPr>
            <a:xfrm>
              <a:off x="6075594" y="3202141"/>
              <a:ext cx="1131366" cy="1131366"/>
            </a:xfrm>
            <a:prstGeom prst="ellipse">
              <a:avLst/>
            </a:prstGeom>
            <a:noFill/>
            <a:ln>
              <a:gradFill flip="none" rotWithShape="1">
                <a:gsLst>
                  <a:gs pos="0">
                    <a:schemeClr val="accent1">
                      <a:alpha val="70000"/>
                    </a:schemeClr>
                  </a:gs>
                  <a:gs pos="100000">
                    <a:schemeClr val="accent4">
                      <a:alpha val="70000"/>
                    </a:schemeClr>
                  </a:gs>
                </a:gsLst>
                <a:lin ang="0" scaled="1"/>
                <a:tileRect/>
              </a:gradFill>
              <a:prstDash val="sysDot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88" name="Группа 87">
            <a:extLst>
              <a:ext uri="{FF2B5EF4-FFF2-40B4-BE49-F238E27FC236}">
                <a16:creationId xmlns:a16="http://schemas.microsoft.com/office/drawing/2014/main" id="{D6E2131C-3CE3-4A03-800B-ECF6E814FA07}"/>
              </a:ext>
            </a:extLst>
          </p:cNvPr>
          <p:cNvGrpSpPr/>
          <p:nvPr userDrawn="1"/>
        </p:nvGrpSpPr>
        <p:grpSpPr>
          <a:xfrm>
            <a:off x="7880958" y="5086359"/>
            <a:ext cx="1131366" cy="1131366"/>
            <a:chOff x="6075594" y="3202141"/>
            <a:chExt cx="1131366" cy="1131366"/>
          </a:xfrm>
        </p:grpSpPr>
        <p:sp>
          <p:nvSpPr>
            <p:cNvPr id="89" name="Овал 88">
              <a:extLst>
                <a:ext uri="{FF2B5EF4-FFF2-40B4-BE49-F238E27FC236}">
                  <a16:creationId xmlns:a16="http://schemas.microsoft.com/office/drawing/2014/main" id="{021BDEF3-4508-4877-B68A-875FA789A85E}"/>
                </a:ext>
              </a:extLst>
            </p:cNvPr>
            <p:cNvSpPr/>
            <p:nvPr/>
          </p:nvSpPr>
          <p:spPr>
            <a:xfrm rot="16200000" flipH="1">
              <a:off x="6168251" y="3294799"/>
              <a:ext cx="946052" cy="946052"/>
            </a:xfrm>
            <a:prstGeom prst="ellipse">
              <a:avLst/>
            </a:prstGeom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lumMod val="50000"/>
                  </a:schemeClr>
                </a:gs>
              </a:gsLst>
              <a:lin ang="2700000" scaled="1"/>
              <a:tileRect/>
            </a:gradFill>
            <a:ln w="38100" cap="flat">
              <a:solidFill>
                <a:schemeClr val="bg1"/>
              </a:solidFill>
              <a:prstDash val="solid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tlCol="0" anchor="ctr"/>
            <a:lstStyle/>
            <a:p>
              <a:pPr algn="ctr" defTabSz="514363">
                <a:defRPr/>
              </a:pPr>
              <a:endParaRPr lang="ru-RU" sz="1013">
                <a:solidFill>
                  <a:srgbClr val="223051"/>
                </a:solidFill>
                <a:latin typeface="Play"/>
              </a:endParaRPr>
            </a:p>
          </p:txBody>
        </p:sp>
        <p:sp>
          <p:nvSpPr>
            <p:cNvPr id="90" name="Овал 89">
              <a:extLst>
                <a:ext uri="{FF2B5EF4-FFF2-40B4-BE49-F238E27FC236}">
                  <a16:creationId xmlns:a16="http://schemas.microsoft.com/office/drawing/2014/main" id="{18E4CC32-ED4E-4631-AD0A-D1D9D9996E24}"/>
                </a:ext>
              </a:extLst>
            </p:cNvPr>
            <p:cNvSpPr/>
            <p:nvPr/>
          </p:nvSpPr>
          <p:spPr>
            <a:xfrm>
              <a:off x="6075594" y="3202141"/>
              <a:ext cx="1131366" cy="1131366"/>
            </a:xfrm>
            <a:prstGeom prst="ellipse">
              <a:avLst/>
            </a:prstGeom>
            <a:noFill/>
            <a:ln>
              <a:gradFill flip="none" rotWithShape="1">
                <a:gsLst>
                  <a:gs pos="0">
                    <a:schemeClr val="accent1">
                      <a:alpha val="70000"/>
                    </a:schemeClr>
                  </a:gs>
                  <a:gs pos="100000">
                    <a:schemeClr val="accent4">
                      <a:alpha val="70000"/>
                    </a:schemeClr>
                  </a:gs>
                </a:gsLst>
                <a:lin ang="0" scaled="1"/>
                <a:tileRect/>
              </a:gradFill>
              <a:prstDash val="sysDot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91" name="Группа 90">
            <a:extLst>
              <a:ext uri="{FF2B5EF4-FFF2-40B4-BE49-F238E27FC236}">
                <a16:creationId xmlns:a16="http://schemas.microsoft.com/office/drawing/2014/main" id="{B9CF0B4C-2F94-4C9E-841B-E435768EE5BC}"/>
              </a:ext>
            </a:extLst>
          </p:cNvPr>
          <p:cNvGrpSpPr/>
          <p:nvPr userDrawn="1"/>
        </p:nvGrpSpPr>
        <p:grpSpPr>
          <a:xfrm>
            <a:off x="7880958" y="3209069"/>
            <a:ext cx="1131366" cy="1131366"/>
            <a:chOff x="6075594" y="3202141"/>
            <a:chExt cx="1131366" cy="1131366"/>
          </a:xfrm>
        </p:grpSpPr>
        <p:sp>
          <p:nvSpPr>
            <p:cNvPr id="92" name="Овал 91">
              <a:extLst>
                <a:ext uri="{FF2B5EF4-FFF2-40B4-BE49-F238E27FC236}">
                  <a16:creationId xmlns:a16="http://schemas.microsoft.com/office/drawing/2014/main" id="{A1DBDB7D-2ABC-42D4-8BFE-218FDD7E9888}"/>
                </a:ext>
              </a:extLst>
            </p:cNvPr>
            <p:cNvSpPr/>
            <p:nvPr/>
          </p:nvSpPr>
          <p:spPr>
            <a:xfrm rot="16200000" flipH="1">
              <a:off x="6168251" y="3294799"/>
              <a:ext cx="946052" cy="946052"/>
            </a:xfrm>
            <a:prstGeom prst="ellipse">
              <a:avLst/>
            </a:prstGeom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lumMod val="50000"/>
                  </a:schemeClr>
                </a:gs>
              </a:gsLst>
              <a:lin ang="2700000" scaled="1"/>
              <a:tileRect/>
            </a:gradFill>
            <a:ln w="38100" cap="flat">
              <a:solidFill>
                <a:schemeClr val="bg1"/>
              </a:solidFill>
              <a:prstDash val="solid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tlCol="0" anchor="ctr"/>
            <a:lstStyle/>
            <a:p>
              <a:pPr algn="ctr" defTabSz="514363">
                <a:defRPr/>
              </a:pPr>
              <a:endParaRPr lang="ru-RU" sz="1013">
                <a:solidFill>
                  <a:srgbClr val="223051"/>
                </a:solidFill>
                <a:latin typeface="Play"/>
              </a:endParaRPr>
            </a:p>
          </p:txBody>
        </p:sp>
        <p:sp>
          <p:nvSpPr>
            <p:cNvPr id="93" name="Овал 92">
              <a:extLst>
                <a:ext uri="{FF2B5EF4-FFF2-40B4-BE49-F238E27FC236}">
                  <a16:creationId xmlns:a16="http://schemas.microsoft.com/office/drawing/2014/main" id="{B73DB216-B97F-4B5D-9707-C2C66ABEC250}"/>
                </a:ext>
              </a:extLst>
            </p:cNvPr>
            <p:cNvSpPr/>
            <p:nvPr/>
          </p:nvSpPr>
          <p:spPr>
            <a:xfrm>
              <a:off x="6075594" y="3202141"/>
              <a:ext cx="1131366" cy="1131366"/>
            </a:xfrm>
            <a:prstGeom prst="ellipse">
              <a:avLst/>
            </a:prstGeom>
            <a:noFill/>
            <a:ln>
              <a:gradFill flip="none" rotWithShape="1">
                <a:gsLst>
                  <a:gs pos="0">
                    <a:schemeClr val="accent1">
                      <a:alpha val="70000"/>
                    </a:schemeClr>
                  </a:gs>
                  <a:gs pos="100000">
                    <a:schemeClr val="accent4">
                      <a:alpha val="70000"/>
                    </a:schemeClr>
                  </a:gs>
                </a:gsLst>
                <a:lin ang="0" scaled="1"/>
                <a:tileRect/>
              </a:gradFill>
              <a:prstDash val="sysDot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94" name="Рисунок 13">
            <a:extLst>
              <a:ext uri="{FF2B5EF4-FFF2-40B4-BE49-F238E27FC236}">
                <a16:creationId xmlns:a16="http://schemas.microsoft.com/office/drawing/2014/main" id="{E791B79F-B02E-451B-917F-F7E64554631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67315" y="1490009"/>
            <a:ext cx="814909" cy="814909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95" name="Рисунок 13">
            <a:extLst>
              <a:ext uri="{FF2B5EF4-FFF2-40B4-BE49-F238E27FC236}">
                <a16:creationId xmlns:a16="http://schemas.microsoft.com/office/drawing/2014/main" id="{6C2AC61C-9155-4028-9355-CBD9F23FE7D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67315" y="3367300"/>
            <a:ext cx="814909" cy="814909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96" name="Рисунок 13">
            <a:extLst>
              <a:ext uri="{FF2B5EF4-FFF2-40B4-BE49-F238E27FC236}">
                <a16:creationId xmlns:a16="http://schemas.microsoft.com/office/drawing/2014/main" id="{B6110899-C7C2-42CA-A239-960D1209AB42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67315" y="5244590"/>
            <a:ext cx="814909" cy="814909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97" name="Рисунок 13">
            <a:extLst>
              <a:ext uri="{FF2B5EF4-FFF2-40B4-BE49-F238E27FC236}">
                <a16:creationId xmlns:a16="http://schemas.microsoft.com/office/drawing/2014/main" id="{844FBDB0-EFD0-4412-895B-27E429D2D7A6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300846" y="1490009"/>
            <a:ext cx="814909" cy="814909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98" name="Рисунок 13">
            <a:extLst>
              <a:ext uri="{FF2B5EF4-FFF2-40B4-BE49-F238E27FC236}">
                <a16:creationId xmlns:a16="http://schemas.microsoft.com/office/drawing/2014/main" id="{35B74EFC-C54B-498B-B91A-1B65939C840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039188" y="1490009"/>
            <a:ext cx="814909" cy="814909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99" name="Рисунок 13">
            <a:extLst>
              <a:ext uri="{FF2B5EF4-FFF2-40B4-BE49-F238E27FC236}">
                <a16:creationId xmlns:a16="http://schemas.microsoft.com/office/drawing/2014/main" id="{C97F030B-7237-4B1E-AC59-451930CFC36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0846" y="3367300"/>
            <a:ext cx="814909" cy="814909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00" name="Рисунок 13">
            <a:extLst>
              <a:ext uri="{FF2B5EF4-FFF2-40B4-BE49-F238E27FC236}">
                <a16:creationId xmlns:a16="http://schemas.microsoft.com/office/drawing/2014/main" id="{9AE7D753-D524-4E9F-B522-7389A8E7735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39188" y="3360370"/>
            <a:ext cx="814909" cy="814909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01" name="Рисунок 13">
            <a:extLst>
              <a:ext uri="{FF2B5EF4-FFF2-40B4-BE49-F238E27FC236}">
                <a16:creationId xmlns:a16="http://schemas.microsoft.com/office/drawing/2014/main" id="{0DB976B9-B6F2-4400-A08E-0524A79AD7D5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300846" y="5244590"/>
            <a:ext cx="814909" cy="814909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02" name="Рисунок 13">
            <a:extLst>
              <a:ext uri="{FF2B5EF4-FFF2-40B4-BE49-F238E27FC236}">
                <a16:creationId xmlns:a16="http://schemas.microsoft.com/office/drawing/2014/main" id="{3A1C151D-DFF9-4DBF-9292-AEF08CD0A5A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039188" y="5244590"/>
            <a:ext cx="814909" cy="814909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43097045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фото люде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10" name="Номер слайда 3">
            <a:extLst>
              <a:ext uri="{FF2B5EF4-FFF2-40B4-BE49-F238E27FC236}">
                <a16:creationId xmlns:a16="http://schemas.microsoft.com/office/drawing/2014/main" id="{2C35DD50-3DF2-4C47-963F-000CFE21E2B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9576" y="6455903"/>
            <a:ext cx="1214424" cy="2308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5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1" name="Рисунок 13">
            <a:extLst>
              <a:ext uri="{FF2B5EF4-FFF2-40B4-BE49-F238E27FC236}">
                <a16:creationId xmlns:a16="http://schemas.microsoft.com/office/drawing/2014/main" id="{D52B4510-A1CC-42EE-B09C-0759EE3ECF30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211145" y="1489325"/>
            <a:ext cx="896400" cy="89640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2" name="Рисунок 13">
            <a:extLst>
              <a:ext uri="{FF2B5EF4-FFF2-40B4-BE49-F238E27FC236}">
                <a16:creationId xmlns:a16="http://schemas.microsoft.com/office/drawing/2014/main" id="{8553449B-AA81-4002-BFC2-849CE638866E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211145" y="3320598"/>
            <a:ext cx="896400" cy="89640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3" name="Рисунок 13">
            <a:extLst>
              <a:ext uri="{FF2B5EF4-FFF2-40B4-BE49-F238E27FC236}">
                <a16:creationId xmlns:a16="http://schemas.microsoft.com/office/drawing/2014/main" id="{249A119C-6FEE-4BEB-A43E-6DD39C2366F9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211145" y="5220230"/>
            <a:ext cx="896400" cy="89640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4" name="Рисунок 13">
            <a:extLst>
              <a:ext uri="{FF2B5EF4-FFF2-40B4-BE49-F238E27FC236}">
                <a16:creationId xmlns:a16="http://schemas.microsoft.com/office/drawing/2014/main" id="{59234B06-0350-4A5C-B591-A68B7C9C03E9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232568" y="1489325"/>
            <a:ext cx="896400" cy="89640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5" name="Рисунок 13">
            <a:extLst>
              <a:ext uri="{FF2B5EF4-FFF2-40B4-BE49-F238E27FC236}">
                <a16:creationId xmlns:a16="http://schemas.microsoft.com/office/drawing/2014/main" id="{419C62D1-466E-4A75-A20F-F4281A82C616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240016" y="3320598"/>
            <a:ext cx="896400" cy="89640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6" name="Рисунок 13">
            <a:extLst>
              <a:ext uri="{FF2B5EF4-FFF2-40B4-BE49-F238E27FC236}">
                <a16:creationId xmlns:a16="http://schemas.microsoft.com/office/drawing/2014/main" id="{84FF0057-290A-4001-9DD8-3012BAD9E07B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240016" y="5216591"/>
            <a:ext cx="896400" cy="89640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45580353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то справа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68651D85-208E-4EFB-B852-FE9A38347B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16465"/>
            <a:ext cx="6127751" cy="297962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9" name="Рисунок 8">
            <a:extLst>
              <a:ext uri="{FF2B5EF4-FFF2-40B4-BE49-F238E27FC236}">
                <a16:creationId xmlns:a16="http://schemas.microsoft.com/office/drawing/2014/main" id="{2E27A946-30F6-49C0-B0F3-7D4C6F80DB8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008101" y="2"/>
            <a:ext cx="5183900" cy="6857999"/>
          </a:xfrm>
          <a:custGeom>
            <a:avLst/>
            <a:gdLst>
              <a:gd name="connsiteX0" fmla="*/ 0 w 4780955"/>
              <a:gd name="connsiteY0" fmla="*/ 0 h 5773019"/>
              <a:gd name="connsiteX1" fmla="*/ 4780955 w 4780955"/>
              <a:gd name="connsiteY1" fmla="*/ 0 h 5773019"/>
              <a:gd name="connsiteX2" fmla="*/ 4780955 w 4780955"/>
              <a:gd name="connsiteY2" fmla="*/ 5773019 h 5773019"/>
              <a:gd name="connsiteX3" fmla="*/ 630376 w 4780955"/>
              <a:gd name="connsiteY3" fmla="*/ 5773019 h 5773019"/>
              <a:gd name="connsiteX0" fmla="*/ 0 w 4780955"/>
              <a:gd name="connsiteY0" fmla="*/ 0 h 5786343"/>
              <a:gd name="connsiteX1" fmla="*/ 4780955 w 4780955"/>
              <a:gd name="connsiteY1" fmla="*/ 0 h 5786343"/>
              <a:gd name="connsiteX2" fmla="*/ 4780955 w 4780955"/>
              <a:gd name="connsiteY2" fmla="*/ 5773019 h 5786343"/>
              <a:gd name="connsiteX3" fmla="*/ 1096154 w 4780955"/>
              <a:gd name="connsiteY3" fmla="*/ 5786343 h 5786343"/>
              <a:gd name="connsiteX4" fmla="*/ 630376 w 4780955"/>
              <a:gd name="connsiteY4" fmla="*/ 5773019 h 5786343"/>
              <a:gd name="connsiteX5" fmla="*/ 0 w 4780955"/>
              <a:gd name="connsiteY5" fmla="*/ 0 h 5786343"/>
              <a:gd name="connsiteX0" fmla="*/ 1363266 w 6144221"/>
              <a:gd name="connsiteY0" fmla="*/ 0 h 5795147"/>
              <a:gd name="connsiteX1" fmla="*/ 6144221 w 6144221"/>
              <a:gd name="connsiteY1" fmla="*/ 0 h 5795147"/>
              <a:gd name="connsiteX2" fmla="*/ 6144221 w 6144221"/>
              <a:gd name="connsiteY2" fmla="*/ 5773019 h 5795147"/>
              <a:gd name="connsiteX3" fmla="*/ 2459420 w 6144221"/>
              <a:gd name="connsiteY3" fmla="*/ 5786343 h 5795147"/>
              <a:gd name="connsiteX4" fmla="*/ 0 w 6144221"/>
              <a:gd name="connsiteY4" fmla="*/ 5795147 h 5795147"/>
              <a:gd name="connsiteX5" fmla="*/ 1363266 w 6144221"/>
              <a:gd name="connsiteY5" fmla="*/ 0 h 5795147"/>
              <a:gd name="connsiteX0" fmla="*/ 1363266 w 6144221"/>
              <a:gd name="connsiteY0" fmla="*/ 0 h 5795147"/>
              <a:gd name="connsiteX1" fmla="*/ 6144221 w 6144221"/>
              <a:gd name="connsiteY1" fmla="*/ 0 h 5795147"/>
              <a:gd name="connsiteX2" fmla="*/ 6144221 w 6144221"/>
              <a:gd name="connsiteY2" fmla="*/ 5773019 h 5795147"/>
              <a:gd name="connsiteX3" fmla="*/ 0 w 6144221"/>
              <a:gd name="connsiteY3" fmla="*/ 5795147 h 5795147"/>
              <a:gd name="connsiteX4" fmla="*/ 1363266 w 6144221"/>
              <a:gd name="connsiteY4" fmla="*/ 0 h 5795147"/>
              <a:gd name="connsiteX0" fmla="*/ 1074532 w 5855487"/>
              <a:gd name="connsiteY0" fmla="*/ 0 h 5773019"/>
              <a:gd name="connsiteX1" fmla="*/ 5855487 w 5855487"/>
              <a:gd name="connsiteY1" fmla="*/ 0 h 5773019"/>
              <a:gd name="connsiteX2" fmla="*/ 5855487 w 5855487"/>
              <a:gd name="connsiteY2" fmla="*/ 5773019 h 5773019"/>
              <a:gd name="connsiteX3" fmla="*/ 0 w 5855487"/>
              <a:gd name="connsiteY3" fmla="*/ 5750892 h 5773019"/>
              <a:gd name="connsiteX4" fmla="*/ 1074532 w 5855487"/>
              <a:gd name="connsiteY4" fmla="*/ 0 h 5773019"/>
              <a:gd name="connsiteX0" fmla="*/ 1047034 w 5827989"/>
              <a:gd name="connsiteY0" fmla="*/ 0 h 5784084"/>
              <a:gd name="connsiteX1" fmla="*/ 5827989 w 5827989"/>
              <a:gd name="connsiteY1" fmla="*/ 0 h 5784084"/>
              <a:gd name="connsiteX2" fmla="*/ 5827989 w 5827989"/>
              <a:gd name="connsiteY2" fmla="*/ 5773019 h 5784084"/>
              <a:gd name="connsiteX3" fmla="*/ 0 w 5827989"/>
              <a:gd name="connsiteY3" fmla="*/ 5784084 h 5784084"/>
              <a:gd name="connsiteX4" fmla="*/ 1047034 w 5827989"/>
              <a:gd name="connsiteY4" fmla="*/ 0 h 5784084"/>
              <a:gd name="connsiteX0" fmla="*/ 1033285 w 5814240"/>
              <a:gd name="connsiteY0" fmla="*/ 0 h 5773021"/>
              <a:gd name="connsiteX1" fmla="*/ 5814240 w 5814240"/>
              <a:gd name="connsiteY1" fmla="*/ 0 h 5773021"/>
              <a:gd name="connsiteX2" fmla="*/ 5814240 w 5814240"/>
              <a:gd name="connsiteY2" fmla="*/ 5773019 h 5773021"/>
              <a:gd name="connsiteX3" fmla="*/ 0 w 5814240"/>
              <a:gd name="connsiteY3" fmla="*/ 5773021 h 5773021"/>
              <a:gd name="connsiteX4" fmla="*/ 1033285 w 5814240"/>
              <a:gd name="connsiteY4" fmla="*/ 0 h 5773021"/>
              <a:gd name="connsiteX0" fmla="*/ 1482591 w 5814240"/>
              <a:gd name="connsiteY0" fmla="*/ 0 h 5773021"/>
              <a:gd name="connsiteX1" fmla="*/ 5814240 w 5814240"/>
              <a:gd name="connsiteY1" fmla="*/ 0 h 5773021"/>
              <a:gd name="connsiteX2" fmla="*/ 5814240 w 5814240"/>
              <a:gd name="connsiteY2" fmla="*/ 5773019 h 5773021"/>
              <a:gd name="connsiteX3" fmla="*/ 0 w 5814240"/>
              <a:gd name="connsiteY3" fmla="*/ 5773021 h 5773021"/>
              <a:gd name="connsiteX4" fmla="*/ 1482591 w 5814240"/>
              <a:gd name="connsiteY4" fmla="*/ 0 h 57730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14240" h="5773021">
                <a:moveTo>
                  <a:pt x="1482591" y="0"/>
                </a:moveTo>
                <a:lnTo>
                  <a:pt x="5814240" y="0"/>
                </a:lnTo>
                <a:lnTo>
                  <a:pt x="5814240" y="5773019"/>
                </a:lnTo>
                <a:lnTo>
                  <a:pt x="0" y="5773021"/>
                </a:lnTo>
                <a:lnTo>
                  <a:pt x="1482591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effectLst>
            <a:innerShdw blurRad="330200" dist="50800" dir="10800000">
              <a:prstClr val="black">
                <a:alpha val="40000"/>
              </a:prstClr>
            </a:innerShdw>
          </a:effectLst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FA66959-4347-E848-A358-86C339F0BD2D}"/>
              </a:ext>
            </a:extLst>
          </p:cNvPr>
          <p:cNvSpPr txBox="1"/>
          <p:nvPr userDrawn="1"/>
        </p:nvSpPr>
        <p:spPr>
          <a:xfrm>
            <a:off x="1836145" y="6632154"/>
            <a:ext cx="65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endParaRPr lang="ru-RU" sz="1200" dirty="0" err="1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" name="Номер слайда 3">
            <a:extLst>
              <a:ext uri="{FF2B5EF4-FFF2-40B4-BE49-F238E27FC236}">
                <a16:creationId xmlns:a16="http://schemas.microsoft.com/office/drawing/2014/main" id="{FB2FC57A-26C8-44B6-B146-23F34133B0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9576" y="6455903"/>
            <a:ext cx="1214424" cy="2308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50">
                <a:solidFill>
                  <a:schemeClr val="bg1"/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24528173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хема фото с людь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9" name="Номер слайда 3">
            <a:extLst>
              <a:ext uri="{FF2B5EF4-FFF2-40B4-BE49-F238E27FC236}">
                <a16:creationId xmlns:a16="http://schemas.microsoft.com/office/drawing/2014/main" id="{095A0BC2-CEE0-4CAF-9B8E-37651F2E600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9576" y="6455903"/>
            <a:ext cx="1214424" cy="2308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5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0" name="Рисунок 13">
            <a:extLst>
              <a:ext uri="{FF2B5EF4-FFF2-40B4-BE49-F238E27FC236}">
                <a16:creationId xmlns:a16="http://schemas.microsoft.com/office/drawing/2014/main" id="{68A87041-9869-4786-8837-88AFBFE952F7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47800" y="1403188"/>
            <a:ext cx="896400" cy="89640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1" name="Рисунок 13">
            <a:extLst>
              <a:ext uri="{FF2B5EF4-FFF2-40B4-BE49-F238E27FC236}">
                <a16:creationId xmlns:a16="http://schemas.microsoft.com/office/drawing/2014/main" id="{554642B5-45F3-4C67-B814-B20780BA40B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801842" y="4133759"/>
            <a:ext cx="896400" cy="89640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2" name="Рисунок 13">
            <a:extLst>
              <a:ext uri="{FF2B5EF4-FFF2-40B4-BE49-F238E27FC236}">
                <a16:creationId xmlns:a16="http://schemas.microsoft.com/office/drawing/2014/main" id="{F0A5985A-4AE2-443D-B641-1D6516AE92EB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389905" y="4133759"/>
            <a:ext cx="896400" cy="89640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3" name="Рисунок 13">
            <a:extLst>
              <a:ext uri="{FF2B5EF4-FFF2-40B4-BE49-F238E27FC236}">
                <a16:creationId xmlns:a16="http://schemas.microsoft.com/office/drawing/2014/main" id="{9B56A0C1-38C8-44E6-94E8-8F151EF45364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977968" y="4133759"/>
            <a:ext cx="896400" cy="89640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4" name="Рисунок 13">
            <a:extLst>
              <a:ext uri="{FF2B5EF4-FFF2-40B4-BE49-F238E27FC236}">
                <a16:creationId xmlns:a16="http://schemas.microsoft.com/office/drawing/2014/main" id="{A3115D26-324B-4C69-B519-1D0A28339B38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9566032" y="4133759"/>
            <a:ext cx="896400" cy="89640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6336541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хема с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Рисунок 13">
            <a:extLst>
              <a:ext uri="{FF2B5EF4-FFF2-40B4-BE49-F238E27FC236}">
                <a16:creationId xmlns:a16="http://schemas.microsoft.com/office/drawing/2014/main" id="{B4112C69-B746-4E26-8F8D-69722E384BD0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442068" y="1089026"/>
            <a:ext cx="3311501" cy="1224253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22" name="Рисунок 13">
            <a:extLst>
              <a:ext uri="{FF2B5EF4-FFF2-40B4-BE49-F238E27FC236}">
                <a16:creationId xmlns:a16="http://schemas.microsoft.com/office/drawing/2014/main" id="{051D9604-0DF2-419F-826E-79A3A605296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07988" y="3582594"/>
            <a:ext cx="2728148" cy="1143284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4" name="Рисунок 13">
            <a:extLst>
              <a:ext uri="{FF2B5EF4-FFF2-40B4-BE49-F238E27FC236}">
                <a16:creationId xmlns:a16="http://schemas.microsoft.com/office/drawing/2014/main" id="{7CA21087-3DCA-4D5F-9AC3-EB095758258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284751" y="3582594"/>
            <a:ext cx="2740914" cy="1143284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9" name="Рисунок 13">
            <a:extLst>
              <a:ext uri="{FF2B5EF4-FFF2-40B4-BE49-F238E27FC236}">
                <a16:creationId xmlns:a16="http://schemas.microsoft.com/office/drawing/2014/main" id="{C4DD58FE-21C7-465B-872B-5396B3B7E6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4280" y="3582594"/>
            <a:ext cx="2732958" cy="1143284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20" name="Рисунок 13">
            <a:extLst>
              <a:ext uri="{FF2B5EF4-FFF2-40B4-BE49-F238E27FC236}">
                <a16:creationId xmlns:a16="http://schemas.microsoft.com/office/drawing/2014/main" id="{0D2C9D21-131F-4914-87F5-C535F41F8F12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9055852" y="3582594"/>
            <a:ext cx="2728148" cy="1143284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16465"/>
            <a:ext cx="10080500" cy="297962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9" name="Номер слайда 3">
            <a:extLst>
              <a:ext uri="{FF2B5EF4-FFF2-40B4-BE49-F238E27FC236}">
                <a16:creationId xmlns:a16="http://schemas.microsoft.com/office/drawing/2014/main" id="{9A34A23A-0233-4D3C-AC78-799F88377D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9576" y="6455903"/>
            <a:ext cx="1214424" cy="2308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5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6717579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Стил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Рисунок 21">
            <a:extLst>
              <a:ext uri="{FF2B5EF4-FFF2-40B4-BE49-F238E27FC236}">
                <a16:creationId xmlns:a16="http://schemas.microsoft.com/office/drawing/2014/main" id="{5A35804F-F8C6-49BD-AC66-9B938381E90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03128" y="1197583"/>
            <a:ext cx="2052000" cy="787003"/>
          </a:xfrm>
          <a:prstGeom prst="rect">
            <a:avLst/>
          </a:prstGeom>
        </p:spPr>
      </p:pic>
      <p:pic>
        <p:nvPicPr>
          <p:cNvPr id="23" name="Рисунок 22">
            <a:extLst>
              <a:ext uri="{FF2B5EF4-FFF2-40B4-BE49-F238E27FC236}">
                <a16:creationId xmlns:a16="http://schemas.microsoft.com/office/drawing/2014/main" id="{2D291DDE-49DA-464B-B7DB-BE1C38E2250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070001" y="1197581"/>
            <a:ext cx="2052000" cy="642156"/>
          </a:xfrm>
          <a:prstGeom prst="rect">
            <a:avLst/>
          </a:prstGeom>
        </p:spPr>
      </p:pic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678B9B5D-3E6A-4D59-8A6E-88663193E046}"/>
              </a:ext>
            </a:extLst>
          </p:cNvPr>
          <p:cNvGrpSpPr/>
          <p:nvPr userDrawn="1"/>
        </p:nvGrpSpPr>
        <p:grpSpPr>
          <a:xfrm>
            <a:off x="9036873" y="1197581"/>
            <a:ext cx="2052001" cy="1606765"/>
            <a:chOff x="8045155" y="1197581"/>
            <a:chExt cx="2052001" cy="1606765"/>
          </a:xfrm>
        </p:grpSpPr>
        <p:pic>
          <p:nvPicPr>
            <p:cNvPr id="24" name="Рисунок 23">
              <a:extLst>
                <a:ext uri="{FF2B5EF4-FFF2-40B4-BE49-F238E27FC236}">
                  <a16:creationId xmlns:a16="http://schemas.microsoft.com/office/drawing/2014/main" id="{80E617B8-79DD-4893-8B43-85D558DCFB1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8133391" y="2055301"/>
              <a:ext cx="749045" cy="749045"/>
            </a:xfrm>
            <a:prstGeom prst="rect">
              <a:avLst/>
            </a:prstGeom>
          </p:spPr>
        </p:pic>
        <p:pic>
          <p:nvPicPr>
            <p:cNvPr id="33" name="Рисунок 32">
              <a:extLst>
                <a:ext uri="{FF2B5EF4-FFF2-40B4-BE49-F238E27FC236}">
                  <a16:creationId xmlns:a16="http://schemas.microsoft.com/office/drawing/2014/main" id="{8BAE4F6E-CD6B-4293-8E86-FCFDC69C255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9348111" y="2055301"/>
              <a:ext cx="749045" cy="749045"/>
            </a:xfrm>
            <a:prstGeom prst="rect">
              <a:avLst/>
            </a:prstGeom>
          </p:spPr>
        </p:pic>
        <p:pic>
          <p:nvPicPr>
            <p:cNvPr id="34" name="Рисунок 33">
              <a:extLst>
                <a:ext uri="{FF2B5EF4-FFF2-40B4-BE49-F238E27FC236}">
                  <a16:creationId xmlns:a16="http://schemas.microsoft.com/office/drawing/2014/main" id="{F8D73D05-A2AB-4703-BF73-7E6E4A3AF6A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8045155" y="1197581"/>
              <a:ext cx="2052000" cy="642156"/>
            </a:xfrm>
            <a:prstGeom prst="rect">
              <a:avLst/>
            </a:prstGeom>
          </p:spPr>
        </p:pic>
      </p:grpSp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id="{3D682A04-46F2-4634-A6BC-09E2B557766A}"/>
              </a:ext>
            </a:extLst>
          </p:cNvPr>
          <p:cNvSpPr/>
          <p:nvPr userDrawn="1"/>
        </p:nvSpPr>
        <p:spPr>
          <a:xfrm>
            <a:off x="5272369" y="3139560"/>
            <a:ext cx="6392583" cy="3022516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3">
                <a:lumMod val="40000"/>
                <a:lumOff val="60000"/>
              </a:schemeClr>
            </a:solidFill>
          </a:ln>
          <a:effectLst>
            <a:outerShdw blurRad="50800" dist="38100" dir="5400000" algn="t" rotWithShape="0">
              <a:prstClr val="black">
                <a:alpha val="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id="{39FBD079-0708-4C90-BFC9-F6C727A79AFE}"/>
              </a:ext>
            </a:extLst>
          </p:cNvPr>
          <p:cNvSpPr/>
          <p:nvPr userDrawn="1"/>
        </p:nvSpPr>
        <p:spPr>
          <a:xfrm>
            <a:off x="527048" y="3139560"/>
            <a:ext cx="4596898" cy="3022516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3">
                <a:lumMod val="40000"/>
                <a:lumOff val="60000"/>
              </a:schemeClr>
            </a:solidFill>
          </a:ln>
          <a:effectLst>
            <a:outerShdw blurRad="50800" dist="38100" dir="5400000" algn="t" rotWithShape="0">
              <a:prstClr val="black">
                <a:alpha val="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grpSp>
        <p:nvGrpSpPr>
          <p:cNvPr id="37" name="Группа 36">
            <a:extLst>
              <a:ext uri="{FF2B5EF4-FFF2-40B4-BE49-F238E27FC236}">
                <a16:creationId xmlns:a16="http://schemas.microsoft.com/office/drawing/2014/main" id="{F79354BA-35A7-4A62-94DB-861A0CCCE27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63737" y="3305142"/>
            <a:ext cx="4113064" cy="2691352"/>
            <a:chOff x="395288" y="3861048"/>
            <a:chExt cx="2207280" cy="1443895"/>
          </a:xfrm>
        </p:grpSpPr>
        <p:grpSp>
          <p:nvGrpSpPr>
            <p:cNvPr id="42" name="Группа 41">
              <a:extLst>
                <a:ext uri="{FF2B5EF4-FFF2-40B4-BE49-F238E27FC236}">
                  <a16:creationId xmlns:a16="http://schemas.microsoft.com/office/drawing/2014/main" id="{16BFCBEF-04B8-4964-92EA-F59EDB63C04D}"/>
                </a:ext>
              </a:extLst>
            </p:cNvPr>
            <p:cNvGrpSpPr/>
            <p:nvPr userDrawn="1"/>
          </p:nvGrpSpPr>
          <p:grpSpPr>
            <a:xfrm>
              <a:off x="395288" y="4653136"/>
              <a:ext cx="2207280" cy="651807"/>
              <a:chOff x="395288" y="5384401"/>
              <a:chExt cx="2207280" cy="651807"/>
            </a:xfrm>
          </p:grpSpPr>
          <p:sp>
            <p:nvSpPr>
              <p:cNvPr id="54" name="Овал 13">
                <a:extLst>
                  <a:ext uri="{FF2B5EF4-FFF2-40B4-BE49-F238E27FC236}">
                    <a16:creationId xmlns:a16="http://schemas.microsoft.com/office/drawing/2014/main" id="{CB51E3C7-9424-437A-A4F4-3B4B83E128B4}"/>
                  </a:ext>
                </a:extLst>
              </p:cNvPr>
              <p:cNvSpPr/>
              <p:nvPr userDrawn="1"/>
            </p:nvSpPr>
            <p:spPr>
              <a:xfrm>
                <a:off x="1173024" y="5384401"/>
                <a:ext cx="651808" cy="651807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>
                  <a:lnSpc>
                    <a:spcPct val="110000"/>
                  </a:lnSpc>
                </a:pPr>
                <a:r>
                  <a:rPr lang="ru-RU" sz="1200" dirty="0"/>
                  <a:t>0</a:t>
                </a:r>
              </a:p>
              <a:p>
                <a:pPr algn="ctr">
                  <a:lnSpc>
                    <a:spcPct val="110000"/>
                  </a:lnSpc>
                </a:pPr>
                <a:r>
                  <a:rPr lang="ru-RU" sz="1200" dirty="0"/>
                  <a:t>168</a:t>
                </a:r>
              </a:p>
              <a:p>
                <a:pPr algn="ctr">
                  <a:lnSpc>
                    <a:spcPct val="110000"/>
                  </a:lnSpc>
                </a:pPr>
                <a:r>
                  <a:rPr lang="ru-RU" sz="1200" dirty="0"/>
                  <a:t>229</a:t>
                </a:r>
              </a:p>
            </p:txBody>
          </p:sp>
          <p:sp>
            <p:nvSpPr>
              <p:cNvPr id="55" name="Овал 13">
                <a:extLst>
                  <a:ext uri="{FF2B5EF4-FFF2-40B4-BE49-F238E27FC236}">
                    <a16:creationId xmlns:a16="http://schemas.microsoft.com/office/drawing/2014/main" id="{532D0B5A-C9FA-4BB3-9ED2-CD0C7EC11734}"/>
                  </a:ext>
                </a:extLst>
              </p:cNvPr>
              <p:cNvSpPr/>
              <p:nvPr userDrawn="1"/>
            </p:nvSpPr>
            <p:spPr>
              <a:xfrm>
                <a:off x="395288" y="5384401"/>
                <a:ext cx="651808" cy="651807"/>
              </a:xfrm>
              <a:prstGeom prst="rect">
                <a:avLst/>
              </a:prstGeom>
              <a:solidFill>
                <a:srgbClr val="42A9B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marL="0" algn="ctr" defTabSz="457200" rtl="0" eaLnBrk="1" latinLnBrk="0" hangingPunct="1">
                  <a:lnSpc>
                    <a:spcPct val="110000"/>
                  </a:lnSpc>
                </a:pPr>
                <a:r>
                  <a:rPr lang="ru-RU" sz="1200" kern="1200" dirty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rPr>
                  <a:t>66</a:t>
                </a:r>
              </a:p>
              <a:p>
                <a:pPr marL="0" algn="ctr" defTabSz="457200" rtl="0" eaLnBrk="1" latinLnBrk="0" hangingPunct="1">
                  <a:lnSpc>
                    <a:spcPct val="110000"/>
                  </a:lnSpc>
                </a:pPr>
                <a:r>
                  <a:rPr lang="ru-RU" sz="1200" kern="1200" dirty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rPr>
                  <a:t>169</a:t>
                </a:r>
              </a:p>
              <a:p>
                <a:pPr marL="0" algn="ctr" defTabSz="457200" rtl="0" eaLnBrk="1" latinLnBrk="0" hangingPunct="1">
                  <a:lnSpc>
                    <a:spcPct val="110000"/>
                  </a:lnSpc>
                </a:pPr>
                <a:r>
                  <a:rPr lang="ru-RU" sz="1200" kern="1200" dirty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rPr>
                  <a:t>185</a:t>
                </a:r>
              </a:p>
            </p:txBody>
          </p:sp>
          <p:sp>
            <p:nvSpPr>
              <p:cNvPr id="56" name="Овал 16">
                <a:extLst>
                  <a:ext uri="{FF2B5EF4-FFF2-40B4-BE49-F238E27FC236}">
                    <a16:creationId xmlns:a16="http://schemas.microsoft.com/office/drawing/2014/main" id="{76BAF6C5-5C6B-4B39-8C7B-463A237DD0A4}"/>
                  </a:ext>
                </a:extLst>
              </p:cNvPr>
              <p:cNvSpPr/>
              <p:nvPr userDrawn="1"/>
            </p:nvSpPr>
            <p:spPr>
              <a:xfrm>
                <a:off x="1950760" y="5384401"/>
                <a:ext cx="651808" cy="65180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>
                  <a:lnSpc>
                    <a:spcPct val="110000"/>
                  </a:lnSpc>
                </a:pPr>
                <a:r>
                  <a:rPr lang="ru-RU" sz="1200" dirty="0"/>
                  <a:t>186</a:t>
                </a:r>
              </a:p>
              <a:p>
                <a:pPr algn="ctr">
                  <a:lnSpc>
                    <a:spcPct val="110000"/>
                  </a:lnSpc>
                </a:pPr>
                <a:r>
                  <a:rPr lang="ru-RU" sz="1200" dirty="0"/>
                  <a:t>192</a:t>
                </a:r>
              </a:p>
              <a:p>
                <a:pPr algn="ctr">
                  <a:lnSpc>
                    <a:spcPct val="110000"/>
                  </a:lnSpc>
                </a:pPr>
                <a:r>
                  <a:rPr lang="ru-RU" sz="1200" dirty="0"/>
                  <a:t>129</a:t>
                </a:r>
              </a:p>
            </p:txBody>
          </p:sp>
        </p:grpSp>
        <p:grpSp>
          <p:nvGrpSpPr>
            <p:cNvPr id="50" name="Группа 49">
              <a:extLst>
                <a:ext uri="{FF2B5EF4-FFF2-40B4-BE49-F238E27FC236}">
                  <a16:creationId xmlns:a16="http://schemas.microsoft.com/office/drawing/2014/main" id="{0400B9A2-6C26-4915-B224-C85E557545C8}"/>
                </a:ext>
              </a:extLst>
            </p:cNvPr>
            <p:cNvGrpSpPr/>
            <p:nvPr userDrawn="1"/>
          </p:nvGrpSpPr>
          <p:grpSpPr>
            <a:xfrm>
              <a:off x="395288" y="3861048"/>
              <a:ext cx="2207280" cy="651807"/>
              <a:chOff x="395288" y="3861048"/>
              <a:chExt cx="2207280" cy="651807"/>
            </a:xfrm>
          </p:grpSpPr>
          <p:sp>
            <p:nvSpPr>
              <p:cNvPr id="51" name="Прямоугольник 50">
                <a:extLst>
                  <a:ext uri="{FF2B5EF4-FFF2-40B4-BE49-F238E27FC236}">
                    <a16:creationId xmlns:a16="http://schemas.microsoft.com/office/drawing/2014/main" id="{514C49EA-31CA-4170-8956-C71F6E83A85A}"/>
                  </a:ext>
                </a:extLst>
              </p:cNvPr>
              <p:cNvSpPr/>
              <p:nvPr userDrawn="1"/>
            </p:nvSpPr>
            <p:spPr>
              <a:xfrm>
                <a:off x="1173024" y="3861048"/>
                <a:ext cx="651808" cy="651807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>
                  <a:lnSpc>
                    <a:spcPct val="110000"/>
                  </a:lnSpc>
                </a:pPr>
                <a:r>
                  <a:rPr lang="ru-RU" sz="1200" dirty="0"/>
                  <a:t>221</a:t>
                </a:r>
              </a:p>
              <a:p>
                <a:pPr algn="ctr">
                  <a:lnSpc>
                    <a:spcPct val="110000"/>
                  </a:lnSpc>
                </a:pPr>
                <a:r>
                  <a:rPr lang="ru-RU" sz="1200" dirty="0"/>
                  <a:t>30</a:t>
                </a:r>
              </a:p>
              <a:p>
                <a:pPr algn="ctr">
                  <a:lnSpc>
                    <a:spcPct val="110000"/>
                  </a:lnSpc>
                </a:pPr>
                <a:r>
                  <a:rPr lang="ru-RU" sz="1200" dirty="0"/>
                  <a:t>37</a:t>
                </a:r>
              </a:p>
            </p:txBody>
          </p:sp>
          <p:sp>
            <p:nvSpPr>
              <p:cNvPr id="52" name="Прямоугольник 51">
                <a:extLst>
                  <a:ext uri="{FF2B5EF4-FFF2-40B4-BE49-F238E27FC236}">
                    <a16:creationId xmlns:a16="http://schemas.microsoft.com/office/drawing/2014/main" id="{1B806004-D4BD-4199-B34E-98689E0D75BA}"/>
                  </a:ext>
                </a:extLst>
              </p:cNvPr>
              <p:cNvSpPr/>
              <p:nvPr userDrawn="1"/>
            </p:nvSpPr>
            <p:spPr>
              <a:xfrm>
                <a:off x="395288" y="3861048"/>
                <a:ext cx="651808" cy="651807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>
                  <a:lnSpc>
                    <a:spcPct val="120000"/>
                  </a:lnSpc>
                </a:pPr>
                <a:r>
                  <a:rPr lang="ru-RU" sz="1200" b="0" dirty="0"/>
                  <a:t>0</a:t>
                </a:r>
              </a:p>
              <a:p>
                <a:pPr algn="ctr">
                  <a:lnSpc>
                    <a:spcPct val="120000"/>
                  </a:lnSpc>
                </a:pPr>
                <a:r>
                  <a:rPr lang="ru-RU" sz="1200" b="0" dirty="0"/>
                  <a:t>93</a:t>
                </a:r>
              </a:p>
              <a:p>
                <a:pPr algn="ctr">
                  <a:lnSpc>
                    <a:spcPct val="120000"/>
                  </a:lnSpc>
                </a:pPr>
                <a:r>
                  <a:rPr lang="ru-RU" sz="1200" b="0" dirty="0"/>
                  <a:t>163</a:t>
                </a:r>
              </a:p>
            </p:txBody>
          </p:sp>
          <p:sp>
            <p:nvSpPr>
              <p:cNvPr id="53" name="Овал 13">
                <a:extLst>
                  <a:ext uri="{FF2B5EF4-FFF2-40B4-BE49-F238E27FC236}">
                    <a16:creationId xmlns:a16="http://schemas.microsoft.com/office/drawing/2014/main" id="{B380A03F-A345-4D30-A773-A4FA42A57DD6}"/>
                  </a:ext>
                </a:extLst>
              </p:cNvPr>
              <p:cNvSpPr/>
              <p:nvPr userDrawn="1"/>
            </p:nvSpPr>
            <p:spPr>
              <a:xfrm>
                <a:off x="1950760" y="3861048"/>
                <a:ext cx="651808" cy="651807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>
                  <a:lnSpc>
                    <a:spcPct val="110000"/>
                  </a:lnSpc>
                </a:pPr>
                <a:r>
                  <a:rPr lang="ru-RU" sz="1200" dirty="0"/>
                  <a:t>153</a:t>
                </a:r>
              </a:p>
              <a:p>
                <a:pPr algn="ctr">
                  <a:lnSpc>
                    <a:spcPct val="110000"/>
                  </a:lnSpc>
                </a:pPr>
                <a:r>
                  <a:rPr lang="ru-RU" sz="1200" dirty="0"/>
                  <a:t>164</a:t>
                </a:r>
              </a:p>
              <a:p>
                <a:pPr algn="ctr">
                  <a:lnSpc>
                    <a:spcPct val="110000"/>
                  </a:lnSpc>
                </a:pPr>
                <a:r>
                  <a:rPr lang="ru-RU" sz="1200" dirty="0"/>
                  <a:t>171</a:t>
                </a:r>
              </a:p>
            </p:txBody>
          </p:sp>
        </p:grpSp>
      </p:grpSp>
      <p:sp>
        <p:nvSpPr>
          <p:cNvPr id="57" name="Прямоугольник 56">
            <a:extLst>
              <a:ext uri="{FF2B5EF4-FFF2-40B4-BE49-F238E27FC236}">
                <a16:creationId xmlns:a16="http://schemas.microsoft.com/office/drawing/2014/main" id="{6392F195-01DE-4536-88E8-2B356DD5A115}"/>
              </a:ext>
            </a:extLst>
          </p:cNvPr>
          <p:cNvSpPr/>
          <p:nvPr userDrawn="1"/>
        </p:nvSpPr>
        <p:spPr bwMode="auto">
          <a:xfrm>
            <a:off x="5447929" y="3305142"/>
            <a:ext cx="6051922" cy="499730"/>
          </a:xfrm>
          <a:prstGeom prst="rect">
            <a:avLst/>
          </a:prstGeom>
          <a:gradFill>
            <a:gsLst>
              <a:gs pos="0">
                <a:schemeClr val="accent5"/>
              </a:gs>
              <a:gs pos="75000">
                <a:srgbClr val="0D0A4C"/>
              </a:gs>
            </a:gsLst>
            <a:lin ang="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381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58" name="Прямоугольник 57">
            <a:extLst>
              <a:ext uri="{FF2B5EF4-FFF2-40B4-BE49-F238E27FC236}">
                <a16:creationId xmlns:a16="http://schemas.microsoft.com/office/drawing/2014/main" id="{C029EFBC-939A-479A-8BCD-3C26E4D3C94C}"/>
              </a:ext>
            </a:extLst>
          </p:cNvPr>
          <p:cNvSpPr/>
          <p:nvPr userDrawn="1"/>
        </p:nvSpPr>
        <p:spPr bwMode="auto">
          <a:xfrm>
            <a:off x="5447929" y="5498212"/>
            <a:ext cx="6051922" cy="499730"/>
          </a:xfrm>
          <a:prstGeom prst="rect">
            <a:avLst/>
          </a:prstGeom>
          <a:gradFill>
            <a:gsLst>
              <a:gs pos="75000">
                <a:schemeClr val="accent2"/>
              </a:gs>
              <a:gs pos="0">
                <a:schemeClr val="accent1"/>
              </a:gs>
            </a:gsLst>
            <a:lin ang="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381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59" name="Прямоугольник 58">
            <a:extLst>
              <a:ext uri="{FF2B5EF4-FFF2-40B4-BE49-F238E27FC236}">
                <a16:creationId xmlns:a16="http://schemas.microsoft.com/office/drawing/2014/main" id="{6E319198-1BBF-492A-B2D2-E239EB79F100}"/>
              </a:ext>
            </a:extLst>
          </p:cNvPr>
          <p:cNvSpPr/>
          <p:nvPr userDrawn="1"/>
        </p:nvSpPr>
        <p:spPr bwMode="auto">
          <a:xfrm>
            <a:off x="5447929" y="4767187"/>
            <a:ext cx="6051922" cy="499730"/>
          </a:xfrm>
          <a:prstGeom prst="rect">
            <a:avLst/>
          </a:prstGeom>
          <a:gradFill>
            <a:gsLst>
              <a:gs pos="75000">
                <a:schemeClr val="accent2"/>
              </a:gs>
              <a:gs pos="0">
                <a:schemeClr val="accent4"/>
              </a:gs>
            </a:gsLst>
            <a:lin ang="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381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60" name="Прямоугольник 59">
            <a:extLst>
              <a:ext uri="{FF2B5EF4-FFF2-40B4-BE49-F238E27FC236}">
                <a16:creationId xmlns:a16="http://schemas.microsoft.com/office/drawing/2014/main" id="{E77B36AC-6830-474E-BC7D-C70EA9CFDB27}"/>
              </a:ext>
            </a:extLst>
          </p:cNvPr>
          <p:cNvSpPr/>
          <p:nvPr userDrawn="1"/>
        </p:nvSpPr>
        <p:spPr bwMode="auto">
          <a:xfrm>
            <a:off x="5447929" y="4036164"/>
            <a:ext cx="6051922" cy="499730"/>
          </a:xfrm>
          <a:prstGeom prst="rect">
            <a:avLst/>
          </a:prstGeom>
          <a:gradFill>
            <a:gsLst>
              <a:gs pos="75000">
                <a:schemeClr val="accent2">
                  <a:lumMod val="50000"/>
                </a:schemeClr>
              </a:gs>
              <a:gs pos="0">
                <a:schemeClr val="accent3"/>
              </a:gs>
            </a:gsLst>
            <a:lin ang="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381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25" name="Номер слайда 3">
            <a:extLst>
              <a:ext uri="{FF2B5EF4-FFF2-40B4-BE49-F238E27FC236}">
                <a16:creationId xmlns:a16="http://schemas.microsoft.com/office/drawing/2014/main" id="{9A93B478-F443-4A3E-BDA1-F940254F5D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9576" y="6455903"/>
            <a:ext cx="1214424" cy="2308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5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6086714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C1325F-6528-4978-BB9C-5A057166943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3" name="Слайд think-cell" r:id="rId4" imgW="306" imgH="306" progId="TCLayout.ActiveDocument.1">
                  <p:embed/>
                </p:oleObj>
              </mc:Choice>
              <mc:Fallback>
                <p:oleObj name="Слайд think-cell" r:id="rId4" imgW="306" imgH="30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C1325F-6528-4978-BB9C-5A05716694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652053" y="6639224"/>
            <a:ext cx="125941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ru-RU" sz="816" smtClean="0">
                <a:solidFill>
                  <a:schemeClr val="accent6"/>
                </a:solidFill>
              </a:rPr>
              <a:pPr lvl="0"/>
              <a:t>‹#›</a:t>
            </a:fld>
            <a:endParaRPr lang="ru-RU" sz="816" dirty="0">
              <a:solidFill>
                <a:schemeClr val="accent6"/>
              </a:solidFill>
            </a:endParaRP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58002" y="51835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95"/>
            <a:endParaRPr lang="ru-RU" sz="612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4" name="SlideLogoText" hidden="1">
            <a:extLst>
              <a:ext uri="{FF2B5EF4-FFF2-40B4-BE49-F238E27FC236}">
                <a16:creationId xmlns:a16="http://schemas.microsoft.com/office/drawing/2014/main" id="{539F8FCF-CE71-4CA6-9CD4-67E582C302A0}"/>
              </a:ext>
            </a:extLst>
          </p:cNvPr>
          <p:cNvSpPr txBox="1"/>
          <p:nvPr userDrawn="1"/>
        </p:nvSpPr>
        <p:spPr>
          <a:xfrm>
            <a:off x="10490964" y="6641683"/>
            <a:ext cx="948641" cy="128097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en-US" sz="816">
                <a:solidFill>
                  <a:schemeClr val="accent6"/>
                </a:solidFill>
              </a:rPr>
              <a:t>McKinsey &amp; Company</a:t>
            </a:r>
            <a:endParaRPr lang="ru-RU" sz="816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40549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35405237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Карти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4">
            <a:extLst>
              <a:ext uri="{FF2B5EF4-FFF2-40B4-BE49-F238E27FC236}">
                <a16:creationId xmlns:a16="http://schemas.microsoft.com/office/drawing/2014/main" id="{A9E75C1E-59FA-1141-88ED-C9DA5B5C205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ru-RU"/>
          </a:p>
        </p:txBody>
      </p:sp>
      <p:sp>
        <p:nvSpPr>
          <p:cNvPr id="5" name="Номер слайда 3">
            <a:extLst>
              <a:ext uri="{FF2B5EF4-FFF2-40B4-BE49-F238E27FC236}">
                <a16:creationId xmlns:a16="http://schemas.microsoft.com/office/drawing/2014/main" id="{21BAFF8E-D939-4562-A5CF-0F16CA7E97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9576" y="6455903"/>
            <a:ext cx="1214424" cy="2308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50">
                <a:solidFill>
                  <a:schemeClr val="bg1"/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55789659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Карти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Рисунок 25">
            <a:extLst>
              <a:ext uri="{FF2B5EF4-FFF2-40B4-BE49-F238E27FC236}">
                <a16:creationId xmlns:a16="http://schemas.microsoft.com/office/drawing/2014/main" id="{BDB56389-3D3B-F045-A518-140BEFEB8CE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6096000" cy="3429000"/>
          </a:xfrm>
        </p:spPr>
        <p:txBody>
          <a:bodyPr/>
          <a:lstStyle/>
          <a:p>
            <a:endParaRPr lang="ru-RU"/>
          </a:p>
        </p:txBody>
      </p:sp>
      <p:sp>
        <p:nvSpPr>
          <p:cNvPr id="29" name="Рисунок 25">
            <a:extLst>
              <a:ext uri="{FF2B5EF4-FFF2-40B4-BE49-F238E27FC236}">
                <a16:creationId xmlns:a16="http://schemas.microsoft.com/office/drawing/2014/main" id="{5D6A25DC-47DC-674B-915C-0C47DA6CF9E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3429000"/>
            <a:ext cx="6096000" cy="3429000"/>
          </a:xfrm>
        </p:spPr>
        <p:txBody>
          <a:bodyPr/>
          <a:lstStyle/>
          <a:p>
            <a:endParaRPr lang="ru-RU"/>
          </a:p>
        </p:txBody>
      </p:sp>
      <p:sp>
        <p:nvSpPr>
          <p:cNvPr id="5" name="Номер слайда 3">
            <a:extLst>
              <a:ext uri="{FF2B5EF4-FFF2-40B4-BE49-F238E27FC236}">
                <a16:creationId xmlns:a16="http://schemas.microsoft.com/office/drawing/2014/main" id="{4D9378C8-65DF-4334-9AEF-459D6322F65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9576" y="6455903"/>
            <a:ext cx="1214424" cy="2308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5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5651550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Карти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Рисунок 36">
            <a:extLst>
              <a:ext uri="{FF2B5EF4-FFF2-40B4-BE49-F238E27FC236}">
                <a16:creationId xmlns:a16="http://schemas.microsoft.com/office/drawing/2014/main" id="{576C4389-9572-2141-857B-F6E51661101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98240" y="-2840"/>
            <a:ext cx="2493760" cy="6858000"/>
          </a:xfrm>
          <a:custGeom>
            <a:avLst/>
            <a:gdLst>
              <a:gd name="connsiteX0" fmla="*/ 738107 w 1870320"/>
              <a:gd name="connsiteY0" fmla="*/ 0 h 6858000"/>
              <a:gd name="connsiteX1" fmla="*/ 1870320 w 1870320"/>
              <a:gd name="connsiteY1" fmla="*/ 0 h 6858000"/>
              <a:gd name="connsiteX2" fmla="*/ 1870320 w 1870320"/>
              <a:gd name="connsiteY2" fmla="*/ 6858000 h 6858000"/>
              <a:gd name="connsiteX3" fmla="*/ 0 w 187032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70320" h="6858000">
                <a:moveTo>
                  <a:pt x="738107" y="0"/>
                </a:moveTo>
                <a:lnTo>
                  <a:pt x="1870320" y="0"/>
                </a:lnTo>
                <a:lnTo>
                  <a:pt x="1870320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34" name="Рисунок 33">
            <a:extLst>
              <a:ext uri="{FF2B5EF4-FFF2-40B4-BE49-F238E27FC236}">
                <a16:creationId xmlns:a16="http://schemas.microsoft.com/office/drawing/2014/main" id="{46486847-6205-8949-9237-430607F06B8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775327" y="-2839"/>
            <a:ext cx="3936520" cy="6857665"/>
          </a:xfrm>
          <a:custGeom>
            <a:avLst/>
            <a:gdLst>
              <a:gd name="connsiteX0" fmla="*/ 738071 w 2952390"/>
              <a:gd name="connsiteY0" fmla="*/ 0 h 6857665"/>
              <a:gd name="connsiteX1" fmla="*/ 2952390 w 2952390"/>
              <a:gd name="connsiteY1" fmla="*/ 0 h 6857665"/>
              <a:gd name="connsiteX2" fmla="*/ 2214320 w 2952390"/>
              <a:gd name="connsiteY2" fmla="*/ 6857665 h 6857665"/>
              <a:gd name="connsiteX3" fmla="*/ 0 w 2952390"/>
              <a:gd name="connsiteY3" fmla="*/ 6857665 h 68576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52390" h="6857665">
                <a:moveTo>
                  <a:pt x="738071" y="0"/>
                </a:moveTo>
                <a:lnTo>
                  <a:pt x="2952390" y="0"/>
                </a:lnTo>
                <a:lnTo>
                  <a:pt x="2214320" y="6857665"/>
                </a:lnTo>
                <a:lnTo>
                  <a:pt x="0" y="6857665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31" name="Рисунок 30">
            <a:extLst>
              <a:ext uri="{FF2B5EF4-FFF2-40B4-BE49-F238E27FC236}">
                <a16:creationId xmlns:a16="http://schemas.microsoft.com/office/drawing/2014/main" id="{C8F9B1D8-C99C-BB48-9570-ADC5F1E84F2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852367" y="-2839"/>
            <a:ext cx="3936520" cy="6857665"/>
          </a:xfrm>
          <a:custGeom>
            <a:avLst/>
            <a:gdLst>
              <a:gd name="connsiteX0" fmla="*/ 738071 w 2952390"/>
              <a:gd name="connsiteY0" fmla="*/ 0 h 6857665"/>
              <a:gd name="connsiteX1" fmla="*/ 2952390 w 2952390"/>
              <a:gd name="connsiteY1" fmla="*/ 0 h 6857665"/>
              <a:gd name="connsiteX2" fmla="*/ 2214320 w 2952390"/>
              <a:gd name="connsiteY2" fmla="*/ 6857665 h 6857665"/>
              <a:gd name="connsiteX3" fmla="*/ 0 w 2952390"/>
              <a:gd name="connsiteY3" fmla="*/ 6857665 h 68576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52390" h="6857665">
                <a:moveTo>
                  <a:pt x="738071" y="0"/>
                </a:moveTo>
                <a:lnTo>
                  <a:pt x="2952390" y="0"/>
                </a:lnTo>
                <a:lnTo>
                  <a:pt x="2214320" y="6857665"/>
                </a:lnTo>
                <a:lnTo>
                  <a:pt x="0" y="6857665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28" name="Рисунок 27">
            <a:extLst>
              <a:ext uri="{FF2B5EF4-FFF2-40B4-BE49-F238E27FC236}">
                <a16:creationId xmlns:a16="http://schemas.microsoft.com/office/drawing/2014/main" id="{B9458EA9-A22B-3A40-951B-623A62B6868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929407" y="-2839"/>
            <a:ext cx="3936520" cy="6857665"/>
          </a:xfrm>
          <a:custGeom>
            <a:avLst/>
            <a:gdLst>
              <a:gd name="connsiteX0" fmla="*/ 738071 w 2952390"/>
              <a:gd name="connsiteY0" fmla="*/ 0 h 6857665"/>
              <a:gd name="connsiteX1" fmla="*/ 2952390 w 2952390"/>
              <a:gd name="connsiteY1" fmla="*/ 0 h 6857665"/>
              <a:gd name="connsiteX2" fmla="*/ 2214320 w 2952390"/>
              <a:gd name="connsiteY2" fmla="*/ 6857665 h 6857665"/>
              <a:gd name="connsiteX3" fmla="*/ 0 w 2952390"/>
              <a:gd name="connsiteY3" fmla="*/ 6857665 h 68576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52390" h="6857665">
                <a:moveTo>
                  <a:pt x="738071" y="0"/>
                </a:moveTo>
                <a:lnTo>
                  <a:pt x="2952390" y="0"/>
                </a:lnTo>
                <a:lnTo>
                  <a:pt x="2214320" y="6857665"/>
                </a:lnTo>
                <a:lnTo>
                  <a:pt x="0" y="6857665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25" name="Рисунок 24">
            <a:extLst>
              <a:ext uri="{FF2B5EF4-FFF2-40B4-BE49-F238E27FC236}">
                <a16:creationId xmlns:a16="http://schemas.microsoft.com/office/drawing/2014/main" id="{07EFC6AC-0D81-B74F-B074-59E31AEFAD8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1942560" cy="6855160"/>
          </a:xfrm>
          <a:custGeom>
            <a:avLst/>
            <a:gdLst>
              <a:gd name="connsiteX0" fmla="*/ 0 w 1456920"/>
              <a:gd name="connsiteY0" fmla="*/ 0 h 6855160"/>
              <a:gd name="connsiteX1" fmla="*/ 1456920 w 1456920"/>
              <a:gd name="connsiteY1" fmla="*/ 0 h 6855160"/>
              <a:gd name="connsiteX2" fmla="*/ 719119 w 1456920"/>
              <a:gd name="connsiteY2" fmla="*/ 6855160 h 6855160"/>
              <a:gd name="connsiteX3" fmla="*/ 0 w 1456920"/>
              <a:gd name="connsiteY3" fmla="*/ 6855160 h 68551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56920" h="6855160">
                <a:moveTo>
                  <a:pt x="0" y="0"/>
                </a:moveTo>
                <a:lnTo>
                  <a:pt x="1456920" y="0"/>
                </a:lnTo>
                <a:lnTo>
                  <a:pt x="719119" y="6855160"/>
                </a:lnTo>
                <a:lnTo>
                  <a:pt x="0" y="685516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3343027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Картинка +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4">
            <a:extLst>
              <a:ext uri="{FF2B5EF4-FFF2-40B4-BE49-F238E27FC236}">
                <a16:creationId xmlns:a16="http://schemas.microsoft.com/office/drawing/2014/main" id="{A9E75C1E-59FA-1141-88ED-C9DA5B5C205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F90BEC28-D1A7-CC4D-8D6B-8EE7CFB49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368" y="416465"/>
            <a:ext cx="9218833" cy="29796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7" name="Freeform 6">
            <a:extLst>
              <a:ext uri="{FF2B5EF4-FFF2-40B4-BE49-F238E27FC236}">
                <a16:creationId xmlns:a16="http://schemas.microsoft.com/office/drawing/2014/main" id="{09C11A44-CB9F-8342-A557-6C2F8D6B2F79}"/>
              </a:ext>
            </a:extLst>
          </p:cNvPr>
          <p:cNvSpPr/>
          <p:nvPr userDrawn="1"/>
        </p:nvSpPr>
        <p:spPr>
          <a:xfrm>
            <a:off x="407369" y="843999"/>
            <a:ext cx="11376000" cy="10800"/>
          </a:xfrm>
          <a:custGeom>
            <a:avLst/>
            <a:gdLst>
              <a:gd name="connsiteX0" fmla="*/ 5615704 w 8353425"/>
              <a:gd name="connsiteY0" fmla="*/ 0 h 10800"/>
              <a:gd name="connsiteX1" fmla="*/ 8353425 w 8353425"/>
              <a:gd name="connsiteY1" fmla="*/ 0 h 10800"/>
              <a:gd name="connsiteX2" fmla="*/ 8353425 w 8353425"/>
              <a:gd name="connsiteY2" fmla="*/ 10800 h 10800"/>
              <a:gd name="connsiteX3" fmla="*/ 5609468 w 8353425"/>
              <a:gd name="connsiteY3" fmla="*/ 10800 h 10800"/>
              <a:gd name="connsiteX4" fmla="*/ 2818125 w 8353425"/>
              <a:gd name="connsiteY4" fmla="*/ 0 h 10800"/>
              <a:gd name="connsiteX5" fmla="*/ 5562912 w 8353425"/>
              <a:gd name="connsiteY5" fmla="*/ 0 h 10800"/>
              <a:gd name="connsiteX6" fmla="*/ 5556676 w 8353425"/>
              <a:gd name="connsiteY6" fmla="*/ 10800 h 10800"/>
              <a:gd name="connsiteX7" fmla="*/ 2811889 w 8353425"/>
              <a:gd name="connsiteY7" fmla="*/ 10800 h 10800"/>
              <a:gd name="connsiteX8" fmla="*/ 0 w 8353425"/>
              <a:gd name="connsiteY8" fmla="*/ 0 h 10800"/>
              <a:gd name="connsiteX9" fmla="*/ 2765333 w 8353425"/>
              <a:gd name="connsiteY9" fmla="*/ 0 h 10800"/>
              <a:gd name="connsiteX10" fmla="*/ 2759098 w 8353425"/>
              <a:gd name="connsiteY10" fmla="*/ 10800 h 10800"/>
              <a:gd name="connsiteX11" fmla="*/ 0 w 8353425"/>
              <a:gd name="connsiteY11" fmla="*/ 10800 h 1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8353425" h="10800">
                <a:moveTo>
                  <a:pt x="5615704" y="0"/>
                </a:moveTo>
                <a:lnTo>
                  <a:pt x="8353425" y="0"/>
                </a:lnTo>
                <a:lnTo>
                  <a:pt x="8353425" y="10800"/>
                </a:lnTo>
                <a:lnTo>
                  <a:pt x="5609468" y="10800"/>
                </a:lnTo>
                <a:close/>
                <a:moveTo>
                  <a:pt x="2818125" y="0"/>
                </a:moveTo>
                <a:lnTo>
                  <a:pt x="5562912" y="0"/>
                </a:lnTo>
                <a:lnTo>
                  <a:pt x="5556676" y="10800"/>
                </a:lnTo>
                <a:lnTo>
                  <a:pt x="2811889" y="10800"/>
                </a:lnTo>
                <a:close/>
                <a:moveTo>
                  <a:pt x="0" y="0"/>
                </a:moveTo>
                <a:lnTo>
                  <a:pt x="2765333" y="0"/>
                </a:lnTo>
                <a:lnTo>
                  <a:pt x="2759098" y="10800"/>
                </a:lnTo>
                <a:lnTo>
                  <a:pt x="0" y="10800"/>
                </a:lnTo>
                <a:close/>
              </a:path>
            </a:pathLst>
          </a:custGeom>
          <a:solidFill>
            <a:schemeClr val="bg1">
              <a:alpha val="40000"/>
            </a:scheme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indent="0" algn="ctr" defTabSz="895350"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</a:pPr>
            <a:endParaRPr lang="ru-RU" sz="1200" dirty="0" err="1">
              <a:solidFill>
                <a:schemeClr val="bg1"/>
              </a:solidFill>
            </a:endParaRPr>
          </a:p>
        </p:txBody>
      </p:sp>
      <p:sp>
        <p:nvSpPr>
          <p:cNvPr id="9" name="Номер слайда 3">
            <a:extLst>
              <a:ext uri="{FF2B5EF4-FFF2-40B4-BE49-F238E27FC236}">
                <a16:creationId xmlns:a16="http://schemas.microsoft.com/office/drawing/2014/main" id="{C6599434-9EF1-4070-BC62-2CB8AEFDF2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9576" y="6455903"/>
            <a:ext cx="1214424" cy="2308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5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6184280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44">
          <p15:clr>
            <a:srgbClr val="FBAE40"/>
          </p15:clr>
        </p15:guide>
        <p15:guide id="2" pos="7136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3">
            <a:extLst>
              <a:ext uri="{FF2B5EF4-FFF2-40B4-BE49-F238E27FC236}">
                <a16:creationId xmlns:a16="http://schemas.microsoft.com/office/drawing/2014/main" id="{046B1519-86C3-4167-B3A5-55924E4036E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9576" y="6455903"/>
            <a:ext cx="1214424" cy="2308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5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0115499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то справа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68651D85-208E-4EFB-B852-FE9A38347B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16465"/>
            <a:ext cx="6127751" cy="297962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9" name="Рисунок 8">
            <a:extLst>
              <a:ext uri="{FF2B5EF4-FFF2-40B4-BE49-F238E27FC236}">
                <a16:creationId xmlns:a16="http://schemas.microsoft.com/office/drawing/2014/main" id="{2E27A946-30F6-49C0-B0F3-7D4C6F80DB8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511825" y="2"/>
            <a:ext cx="7680177" cy="6857999"/>
          </a:xfrm>
          <a:custGeom>
            <a:avLst/>
            <a:gdLst>
              <a:gd name="connsiteX0" fmla="*/ 0 w 4780955"/>
              <a:gd name="connsiteY0" fmla="*/ 0 h 5773019"/>
              <a:gd name="connsiteX1" fmla="*/ 4780955 w 4780955"/>
              <a:gd name="connsiteY1" fmla="*/ 0 h 5773019"/>
              <a:gd name="connsiteX2" fmla="*/ 4780955 w 4780955"/>
              <a:gd name="connsiteY2" fmla="*/ 5773019 h 5773019"/>
              <a:gd name="connsiteX3" fmla="*/ 630376 w 4780955"/>
              <a:gd name="connsiteY3" fmla="*/ 5773019 h 5773019"/>
              <a:gd name="connsiteX0" fmla="*/ 0 w 4780955"/>
              <a:gd name="connsiteY0" fmla="*/ 0 h 5786343"/>
              <a:gd name="connsiteX1" fmla="*/ 4780955 w 4780955"/>
              <a:gd name="connsiteY1" fmla="*/ 0 h 5786343"/>
              <a:gd name="connsiteX2" fmla="*/ 4780955 w 4780955"/>
              <a:gd name="connsiteY2" fmla="*/ 5773019 h 5786343"/>
              <a:gd name="connsiteX3" fmla="*/ 1096154 w 4780955"/>
              <a:gd name="connsiteY3" fmla="*/ 5786343 h 5786343"/>
              <a:gd name="connsiteX4" fmla="*/ 630376 w 4780955"/>
              <a:gd name="connsiteY4" fmla="*/ 5773019 h 5786343"/>
              <a:gd name="connsiteX5" fmla="*/ 0 w 4780955"/>
              <a:gd name="connsiteY5" fmla="*/ 0 h 5786343"/>
              <a:gd name="connsiteX0" fmla="*/ 1363266 w 6144221"/>
              <a:gd name="connsiteY0" fmla="*/ 0 h 5795147"/>
              <a:gd name="connsiteX1" fmla="*/ 6144221 w 6144221"/>
              <a:gd name="connsiteY1" fmla="*/ 0 h 5795147"/>
              <a:gd name="connsiteX2" fmla="*/ 6144221 w 6144221"/>
              <a:gd name="connsiteY2" fmla="*/ 5773019 h 5795147"/>
              <a:gd name="connsiteX3" fmla="*/ 2459420 w 6144221"/>
              <a:gd name="connsiteY3" fmla="*/ 5786343 h 5795147"/>
              <a:gd name="connsiteX4" fmla="*/ 0 w 6144221"/>
              <a:gd name="connsiteY4" fmla="*/ 5795147 h 5795147"/>
              <a:gd name="connsiteX5" fmla="*/ 1363266 w 6144221"/>
              <a:gd name="connsiteY5" fmla="*/ 0 h 5795147"/>
              <a:gd name="connsiteX0" fmla="*/ 1363266 w 6144221"/>
              <a:gd name="connsiteY0" fmla="*/ 0 h 5795147"/>
              <a:gd name="connsiteX1" fmla="*/ 6144221 w 6144221"/>
              <a:gd name="connsiteY1" fmla="*/ 0 h 5795147"/>
              <a:gd name="connsiteX2" fmla="*/ 6144221 w 6144221"/>
              <a:gd name="connsiteY2" fmla="*/ 5773019 h 5795147"/>
              <a:gd name="connsiteX3" fmla="*/ 0 w 6144221"/>
              <a:gd name="connsiteY3" fmla="*/ 5795147 h 5795147"/>
              <a:gd name="connsiteX4" fmla="*/ 1363266 w 6144221"/>
              <a:gd name="connsiteY4" fmla="*/ 0 h 5795147"/>
              <a:gd name="connsiteX0" fmla="*/ 1074532 w 5855487"/>
              <a:gd name="connsiteY0" fmla="*/ 0 h 5773019"/>
              <a:gd name="connsiteX1" fmla="*/ 5855487 w 5855487"/>
              <a:gd name="connsiteY1" fmla="*/ 0 h 5773019"/>
              <a:gd name="connsiteX2" fmla="*/ 5855487 w 5855487"/>
              <a:gd name="connsiteY2" fmla="*/ 5773019 h 5773019"/>
              <a:gd name="connsiteX3" fmla="*/ 0 w 5855487"/>
              <a:gd name="connsiteY3" fmla="*/ 5750892 h 5773019"/>
              <a:gd name="connsiteX4" fmla="*/ 1074532 w 5855487"/>
              <a:gd name="connsiteY4" fmla="*/ 0 h 5773019"/>
              <a:gd name="connsiteX0" fmla="*/ 1047034 w 5827989"/>
              <a:gd name="connsiteY0" fmla="*/ 0 h 5784084"/>
              <a:gd name="connsiteX1" fmla="*/ 5827989 w 5827989"/>
              <a:gd name="connsiteY1" fmla="*/ 0 h 5784084"/>
              <a:gd name="connsiteX2" fmla="*/ 5827989 w 5827989"/>
              <a:gd name="connsiteY2" fmla="*/ 5773019 h 5784084"/>
              <a:gd name="connsiteX3" fmla="*/ 0 w 5827989"/>
              <a:gd name="connsiteY3" fmla="*/ 5784084 h 5784084"/>
              <a:gd name="connsiteX4" fmla="*/ 1047034 w 5827989"/>
              <a:gd name="connsiteY4" fmla="*/ 0 h 5784084"/>
              <a:gd name="connsiteX0" fmla="*/ 1033285 w 5814240"/>
              <a:gd name="connsiteY0" fmla="*/ 0 h 5773021"/>
              <a:gd name="connsiteX1" fmla="*/ 5814240 w 5814240"/>
              <a:gd name="connsiteY1" fmla="*/ 0 h 5773021"/>
              <a:gd name="connsiteX2" fmla="*/ 5814240 w 5814240"/>
              <a:gd name="connsiteY2" fmla="*/ 5773019 h 5773021"/>
              <a:gd name="connsiteX3" fmla="*/ 0 w 5814240"/>
              <a:gd name="connsiteY3" fmla="*/ 5773021 h 5773021"/>
              <a:gd name="connsiteX4" fmla="*/ 1033285 w 5814240"/>
              <a:gd name="connsiteY4" fmla="*/ 0 h 57730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14240" h="5773021">
                <a:moveTo>
                  <a:pt x="1033285" y="0"/>
                </a:moveTo>
                <a:lnTo>
                  <a:pt x="5814240" y="0"/>
                </a:lnTo>
                <a:lnTo>
                  <a:pt x="5814240" y="5773019"/>
                </a:lnTo>
                <a:lnTo>
                  <a:pt x="0" y="5773021"/>
                </a:lnTo>
                <a:lnTo>
                  <a:pt x="1033285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effectLst>
            <a:innerShdw blurRad="330200" dist="50800" dir="10800000">
              <a:prstClr val="black">
                <a:alpha val="40000"/>
              </a:prstClr>
            </a:innerShdw>
          </a:effectLst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5" name="Номер слайда 3">
            <a:extLst>
              <a:ext uri="{FF2B5EF4-FFF2-40B4-BE49-F238E27FC236}">
                <a16:creationId xmlns:a16="http://schemas.microsoft.com/office/drawing/2014/main" id="{B1F7E2A0-17FC-4DDB-9260-F4D4B305DF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9576" y="6455903"/>
            <a:ext cx="1214424" cy="2308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50">
                <a:solidFill>
                  <a:schemeClr val="bg1"/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73922115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7E8ED43F-4BBD-4778-BB6A-6D4ECED5EC75}"/>
              </a:ext>
            </a:extLst>
          </p:cNvPr>
          <p:cNvSpPr/>
          <p:nvPr userDrawn="1"/>
        </p:nvSpPr>
        <p:spPr>
          <a:xfrm>
            <a:off x="5067041" y="0"/>
            <a:ext cx="7124959" cy="6858000"/>
          </a:xfrm>
          <a:prstGeom prst="rect">
            <a:avLst/>
          </a:prstGeom>
          <a:gradFill flip="none" rotWithShape="1">
            <a:gsLst>
              <a:gs pos="100000">
                <a:schemeClr val="accent2">
                  <a:lumMod val="75000"/>
                </a:schemeClr>
              </a:gs>
              <a:gs pos="0">
                <a:schemeClr val="accent2"/>
              </a:gs>
            </a:gsLst>
            <a:lin ang="13500000" scaled="1"/>
            <a:tileRect/>
          </a:gradFill>
          <a:ln w="9525">
            <a:noFill/>
            <a:miter lim="800000"/>
            <a:headEnd/>
            <a:tailEnd/>
          </a:ln>
          <a:effectLst>
            <a:outerShdw blurRad="228600" sx="102000" sy="102000" algn="ctr" rotWithShape="0">
              <a:prstClr val="black">
                <a:alpha val="16000"/>
              </a:prstClr>
            </a:outerShdw>
          </a:effectLst>
        </p:spPr>
        <p:txBody>
          <a:bodyPr rot="0" spcFirstLastPara="0" vertOverflow="overflow" horzOverflow="overflow" vert="horz" wrap="square" lIns="540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Рисунок 4">
            <a:extLst>
              <a:ext uri="{FF2B5EF4-FFF2-40B4-BE49-F238E27FC236}">
                <a16:creationId xmlns:a16="http://schemas.microsoft.com/office/drawing/2014/main" id="{A9D8B3DA-F040-4BA7-AFF6-9941CA1ECCC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1"/>
            <a:ext cx="5067040" cy="6857998"/>
          </a:xfrm>
          <a:custGeom>
            <a:avLst/>
            <a:gdLst>
              <a:gd name="connsiteX0" fmla="*/ 0 w 3800280"/>
              <a:gd name="connsiteY0" fmla="*/ 0 h 6857998"/>
              <a:gd name="connsiteX1" fmla="*/ 3800280 w 3800280"/>
              <a:gd name="connsiteY1" fmla="*/ 0 h 6857998"/>
              <a:gd name="connsiteX2" fmla="*/ 3800280 w 3800280"/>
              <a:gd name="connsiteY2" fmla="*/ 6857998 h 6857998"/>
              <a:gd name="connsiteX3" fmla="*/ 0 w 3800280"/>
              <a:gd name="connsiteY3" fmla="*/ 6857998 h 6857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00280" h="6857998">
                <a:moveTo>
                  <a:pt x="0" y="0"/>
                </a:moveTo>
                <a:lnTo>
                  <a:pt x="3800280" y="0"/>
                </a:lnTo>
                <a:lnTo>
                  <a:pt x="3800280" y="6857998"/>
                </a:lnTo>
                <a:lnTo>
                  <a:pt x="0" y="685799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effectLst>
            <a:innerShdw blurRad="330200" dist="50800" dir="10800000">
              <a:prstClr val="black">
                <a:alpha val="40000"/>
              </a:prstClr>
            </a:innerShdw>
          </a:effectLst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9" name="Полилиния: фигура 8">
            <a:extLst>
              <a:ext uri="{FF2B5EF4-FFF2-40B4-BE49-F238E27FC236}">
                <a16:creationId xmlns:a16="http://schemas.microsoft.com/office/drawing/2014/main" id="{67D45B60-0518-40EE-BC0F-8DEEBFAF5F01}"/>
              </a:ext>
            </a:extLst>
          </p:cNvPr>
          <p:cNvSpPr/>
          <p:nvPr userDrawn="1"/>
        </p:nvSpPr>
        <p:spPr>
          <a:xfrm>
            <a:off x="5067040" y="1331682"/>
            <a:ext cx="6658915" cy="5526318"/>
          </a:xfrm>
          <a:custGeom>
            <a:avLst/>
            <a:gdLst>
              <a:gd name="connsiteX0" fmla="*/ 0 w 4994186"/>
              <a:gd name="connsiteY0" fmla="*/ 4860492 h 5526318"/>
              <a:gd name="connsiteX1" fmla="*/ 70789 w 4994186"/>
              <a:gd name="connsiteY1" fmla="*/ 4933301 h 5526318"/>
              <a:gd name="connsiteX2" fmla="*/ 483348 w 4994186"/>
              <a:gd name="connsiteY2" fmla="*/ 5316064 h 5526318"/>
              <a:gd name="connsiteX3" fmla="*/ 734622 w 4994186"/>
              <a:gd name="connsiteY3" fmla="*/ 5526318 h 5526318"/>
              <a:gd name="connsiteX4" fmla="*/ 0 w 4994186"/>
              <a:gd name="connsiteY4" fmla="*/ 5526318 h 5526318"/>
              <a:gd name="connsiteX5" fmla="*/ 1449653 w 4994186"/>
              <a:gd name="connsiteY5" fmla="*/ 77941 h 5526318"/>
              <a:gd name="connsiteX6" fmla="*/ 1743029 w 4994186"/>
              <a:gd name="connsiteY6" fmla="*/ 268635 h 5526318"/>
              <a:gd name="connsiteX7" fmla="*/ 2197761 w 4994186"/>
              <a:gd name="connsiteY7" fmla="*/ 1339458 h 5526318"/>
              <a:gd name="connsiteX8" fmla="*/ 2241765 w 4994186"/>
              <a:gd name="connsiteY8" fmla="*/ 2322259 h 5526318"/>
              <a:gd name="connsiteX9" fmla="*/ 672211 w 4994186"/>
              <a:gd name="connsiteY9" fmla="*/ 2644974 h 5526318"/>
              <a:gd name="connsiteX10" fmla="*/ 126945 w 4994186"/>
              <a:gd name="connsiteY10" fmla="*/ 2807018 h 5526318"/>
              <a:gd name="connsiteX11" fmla="*/ 0 w 4994186"/>
              <a:gd name="connsiteY11" fmla="*/ 2850511 h 5526318"/>
              <a:gd name="connsiteX12" fmla="*/ 0 w 4994186"/>
              <a:gd name="connsiteY12" fmla="*/ 394288 h 5526318"/>
              <a:gd name="connsiteX13" fmla="*/ 26785 w 4994186"/>
              <a:gd name="connsiteY13" fmla="*/ 385986 h 5526318"/>
              <a:gd name="connsiteX14" fmla="*/ 1449653 w 4994186"/>
              <a:gd name="connsiteY14" fmla="*/ 77941 h 5526318"/>
              <a:gd name="connsiteX15" fmla="*/ 2637823 w 4994186"/>
              <a:gd name="connsiteY15" fmla="*/ 935 h 5526318"/>
              <a:gd name="connsiteX16" fmla="*/ 3327257 w 4994186"/>
              <a:gd name="connsiteY16" fmla="*/ 19271 h 5526318"/>
              <a:gd name="connsiteX17" fmla="*/ 4515426 w 4994186"/>
              <a:gd name="connsiteY17" fmla="*/ 429994 h 5526318"/>
              <a:gd name="connsiteX18" fmla="*/ 4955484 w 4994186"/>
              <a:gd name="connsiteY18" fmla="*/ 1603495 h 5526318"/>
              <a:gd name="connsiteX19" fmla="*/ 4955484 w 4994186"/>
              <a:gd name="connsiteY19" fmla="*/ 3070371 h 5526318"/>
              <a:gd name="connsiteX20" fmla="*/ 4618104 w 4994186"/>
              <a:gd name="connsiteY20" fmla="*/ 4889293 h 5526318"/>
              <a:gd name="connsiteX21" fmla="*/ 4431901 w 4994186"/>
              <a:gd name="connsiteY21" fmla="*/ 5526318 h 5526318"/>
              <a:gd name="connsiteX22" fmla="*/ 1953004 w 4994186"/>
              <a:gd name="connsiteY22" fmla="*/ 5526318 h 5526318"/>
              <a:gd name="connsiteX23" fmla="*/ 2117085 w 4994186"/>
              <a:gd name="connsiteY23" fmla="*/ 5120329 h 5526318"/>
              <a:gd name="connsiteX24" fmla="*/ 2359120 w 4994186"/>
              <a:gd name="connsiteY24" fmla="*/ 4302545 h 5526318"/>
              <a:gd name="connsiteX25" fmla="*/ 2667162 w 4994186"/>
              <a:gd name="connsiteY25" fmla="*/ 2307594 h 5526318"/>
              <a:gd name="connsiteX26" fmla="*/ 2623157 w 4994186"/>
              <a:gd name="connsiteY26" fmla="*/ 1324788 h 5526318"/>
              <a:gd name="connsiteX27" fmla="*/ 2168426 w 4994186"/>
              <a:gd name="connsiteY27" fmla="*/ 239304 h 5526318"/>
              <a:gd name="connsiteX28" fmla="*/ 1860380 w 4994186"/>
              <a:gd name="connsiteY28" fmla="*/ 48606 h 5526318"/>
              <a:gd name="connsiteX29" fmla="*/ 2637823 w 4994186"/>
              <a:gd name="connsiteY29" fmla="*/ 935 h 55263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4994186" h="5526318">
                <a:moveTo>
                  <a:pt x="0" y="4860492"/>
                </a:moveTo>
                <a:lnTo>
                  <a:pt x="70789" y="4933301"/>
                </a:lnTo>
                <a:cubicBezTo>
                  <a:pt x="210142" y="5068988"/>
                  <a:pt x="347664" y="5196424"/>
                  <a:pt x="483348" y="5316064"/>
                </a:cubicBezTo>
                <a:lnTo>
                  <a:pt x="734622" y="5526318"/>
                </a:lnTo>
                <a:lnTo>
                  <a:pt x="0" y="5526318"/>
                </a:lnTo>
                <a:close/>
                <a:moveTo>
                  <a:pt x="1449653" y="77941"/>
                </a:moveTo>
                <a:cubicBezTo>
                  <a:pt x="1567004" y="136618"/>
                  <a:pt x="1669682" y="195292"/>
                  <a:pt x="1743029" y="268635"/>
                </a:cubicBezTo>
                <a:cubicBezTo>
                  <a:pt x="2021736" y="518007"/>
                  <a:pt x="2139083" y="928730"/>
                  <a:pt x="2197761" y="1339458"/>
                </a:cubicBezTo>
                <a:cubicBezTo>
                  <a:pt x="2241765" y="1632829"/>
                  <a:pt x="2256434" y="1970210"/>
                  <a:pt x="2241765" y="2322259"/>
                </a:cubicBezTo>
                <a:cubicBezTo>
                  <a:pt x="1772368" y="2366267"/>
                  <a:pt x="1244289" y="2468949"/>
                  <a:pt x="672211" y="2644974"/>
                </a:cubicBezTo>
                <a:cubicBezTo>
                  <a:pt x="481517" y="2696315"/>
                  <a:pt x="299990" y="2750406"/>
                  <a:pt x="126945" y="2807018"/>
                </a:cubicBezTo>
                <a:lnTo>
                  <a:pt x="0" y="2850511"/>
                </a:lnTo>
                <a:lnTo>
                  <a:pt x="0" y="394288"/>
                </a:lnTo>
                <a:lnTo>
                  <a:pt x="26785" y="385986"/>
                </a:lnTo>
                <a:cubicBezTo>
                  <a:pt x="540190" y="239300"/>
                  <a:pt x="1009591" y="136618"/>
                  <a:pt x="1449653" y="77941"/>
                </a:cubicBezTo>
                <a:close/>
                <a:moveTo>
                  <a:pt x="2637823" y="935"/>
                </a:moveTo>
                <a:cubicBezTo>
                  <a:pt x="2883524" y="-2731"/>
                  <a:pt x="3114560" y="4602"/>
                  <a:pt x="3327257" y="19271"/>
                </a:cubicBezTo>
                <a:cubicBezTo>
                  <a:pt x="3781984" y="63279"/>
                  <a:pt x="4251385" y="165957"/>
                  <a:pt x="4515426" y="429994"/>
                </a:cubicBezTo>
                <a:cubicBezTo>
                  <a:pt x="4794129" y="694032"/>
                  <a:pt x="4911480" y="1148763"/>
                  <a:pt x="4955484" y="1603495"/>
                </a:cubicBezTo>
                <a:cubicBezTo>
                  <a:pt x="4999493" y="2028887"/>
                  <a:pt x="5014162" y="2512957"/>
                  <a:pt x="4955484" y="3070371"/>
                </a:cubicBezTo>
                <a:cubicBezTo>
                  <a:pt x="4896811" y="3613115"/>
                  <a:pt x="4794129" y="4214532"/>
                  <a:pt x="4618104" y="4889293"/>
                </a:cubicBezTo>
                <a:lnTo>
                  <a:pt x="4431901" y="5526318"/>
                </a:lnTo>
                <a:lnTo>
                  <a:pt x="1953004" y="5526318"/>
                </a:lnTo>
                <a:lnTo>
                  <a:pt x="2117085" y="5120329"/>
                </a:lnTo>
                <a:cubicBezTo>
                  <a:pt x="2205097" y="4867291"/>
                  <a:pt x="2285777" y="4595921"/>
                  <a:pt x="2359120" y="4302545"/>
                </a:cubicBezTo>
                <a:cubicBezTo>
                  <a:pt x="2549810" y="3554437"/>
                  <a:pt x="2652492" y="2894346"/>
                  <a:pt x="2667162" y="2307594"/>
                </a:cubicBezTo>
                <a:cubicBezTo>
                  <a:pt x="2681831" y="1955544"/>
                  <a:pt x="2667162" y="1618164"/>
                  <a:pt x="2623157" y="1324788"/>
                </a:cubicBezTo>
                <a:cubicBezTo>
                  <a:pt x="2564480" y="899395"/>
                  <a:pt x="2432463" y="488672"/>
                  <a:pt x="2168426" y="239304"/>
                </a:cubicBezTo>
                <a:cubicBezTo>
                  <a:pt x="2080413" y="165957"/>
                  <a:pt x="1977732" y="107284"/>
                  <a:pt x="1860380" y="48606"/>
                </a:cubicBezTo>
                <a:cubicBezTo>
                  <a:pt x="2131750" y="19271"/>
                  <a:pt x="2392121" y="4602"/>
                  <a:pt x="2637823" y="935"/>
                </a:cubicBezTo>
                <a:close/>
              </a:path>
            </a:pathLst>
          </a:custGeom>
          <a:gradFill>
            <a:gsLst>
              <a:gs pos="11000">
                <a:schemeClr val="bg1">
                  <a:alpha val="0"/>
                </a:schemeClr>
              </a:gs>
              <a:gs pos="89000">
                <a:schemeClr val="bg1">
                  <a:alpha val="10000"/>
                </a:schemeClr>
              </a:gs>
            </a:gsLst>
            <a:lin ang="17400000" scaled="0"/>
          </a:gra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Текст 14">
            <a:extLst>
              <a:ext uri="{FF2B5EF4-FFF2-40B4-BE49-F238E27FC236}">
                <a16:creationId xmlns:a16="http://schemas.microsoft.com/office/drawing/2014/main" id="{CD3262E0-C25D-43EE-82C6-F57FEB56F79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32596" y="55692"/>
            <a:ext cx="2980504" cy="3062377"/>
          </a:xfrm>
        </p:spPr>
        <p:txBody>
          <a:bodyPr wrap="none">
            <a:noAutofit/>
          </a:bodyPr>
          <a:lstStyle>
            <a:lvl1pPr marL="0" indent="0">
              <a:buNone/>
              <a:defRPr kumimoji="0" lang="ru-RU" sz="19900" b="1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Roboto Thin" panose="02000000000000000000" pitchFamily="2" charset="0"/>
                <a:cs typeface="+mn-cs"/>
              </a:defRPr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01</a:t>
            </a:r>
          </a:p>
        </p:txBody>
      </p:sp>
      <p:sp>
        <p:nvSpPr>
          <p:cNvPr id="18" name="Заголовок 12">
            <a:extLst>
              <a:ext uri="{FF2B5EF4-FFF2-40B4-BE49-F238E27FC236}">
                <a16:creationId xmlns:a16="http://schemas.microsoft.com/office/drawing/2014/main" id="{3DA310B7-7F23-49D4-B16D-1675312F5F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40366" y="1106128"/>
            <a:ext cx="6124585" cy="1116578"/>
          </a:xfrm>
        </p:spPr>
        <p:txBody>
          <a:bodyPr anchor="b">
            <a:noAutofit/>
          </a:bodyPr>
          <a:lstStyle>
            <a:lvl1pPr>
              <a:defRPr kumimoji="0" lang="ru-RU" sz="4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defRPr>
            </a:lvl1pPr>
          </a:lstStyle>
          <a:p>
            <a:pPr lvl="0">
              <a:defRPr/>
            </a:pPr>
            <a:r>
              <a:rPr lang="ru-RU" sz="4000" b="1" dirty="0">
                <a:solidFill>
                  <a:srgbClr val="FFFFFF"/>
                </a:solidFill>
              </a:rPr>
              <a:t>Титульный слайд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Текст 19">
            <a:extLst>
              <a:ext uri="{FF2B5EF4-FFF2-40B4-BE49-F238E27FC236}">
                <a16:creationId xmlns:a16="http://schemas.microsoft.com/office/drawing/2014/main" id="{18B72DCC-62DC-40D4-BDD0-128615C457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40366" y="2394168"/>
            <a:ext cx="6124585" cy="233910"/>
          </a:xfrm>
        </p:spPr>
        <p:txBody>
          <a:bodyPr>
            <a:spAutoFit/>
          </a:bodyPr>
          <a:lstStyle>
            <a:lvl1pPr marL="180000" indent="-180000" algn="l" defTabSz="883649" rtl="0" eaLnBrk="0" fontAlgn="base" hangingPunct="0">
              <a:lnSpc>
                <a:spcPct val="95000"/>
              </a:lnSpc>
              <a:spcBef>
                <a:spcPts val="500"/>
              </a:spcBef>
              <a:spcAft>
                <a:spcPts val="200"/>
              </a:spcAft>
              <a:defRPr lang="ru-RU" sz="16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algn="l" defTabSz="883649" rtl="0" eaLnBrk="0" fontAlgn="base" hangingPunct="0">
              <a:spcBef>
                <a:spcPts val="500"/>
              </a:spcBef>
              <a:spcAft>
                <a:spcPct val="0"/>
              </a:spcAft>
              <a:defRPr lang="ru-RU" sz="18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algn="l" defTabSz="883649" rtl="0" eaLnBrk="0" fontAlgn="base" hangingPunct="0">
              <a:spcBef>
                <a:spcPts val="500"/>
              </a:spcBef>
              <a:spcAft>
                <a:spcPct val="0"/>
              </a:spcAft>
              <a:defRPr lang="ru-RU" sz="18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algn="l" defTabSz="883649" rtl="0" eaLnBrk="0" fontAlgn="base" hangingPunct="0">
              <a:spcBef>
                <a:spcPts val="500"/>
              </a:spcBef>
              <a:spcAft>
                <a:spcPct val="0"/>
              </a:spcAft>
              <a:defRPr lang="ru-RU" sz="18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algn="l" defTabSz="883649" rtl="0" eaLnBrk="0" fontAlgn="base" hangingPunct="0">
              <a:spcBef>
                <a:spcPts val="500"/>
              </a:spcBef>
              <a:spcAft>
                <a:spcPct val="0"/>
              </a:spcAft>
              <a:defRPr lang="ru-RU" sz="18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1" name="Номер слайда 3">
            <a:extLst>
              <a:ext uri="{FF2B5EF4-FFF2-40B4-BE49-F238E27FC236}">
                <a16:creationId xmlns:a16="http://schemas.microsoft.com/office/drawing/2014/main" id="{AC2B428E-1172-4B83-9B05-740524A8529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9576" y="6455903"/>
            <a:ext cx="1214424" cy="2308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50">
                <a:solidFill>
                  <a:schemeClr val="bg1"/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5191919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3498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то справа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68651D85-208E-4EFB-B852-FE9A38347B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16465"/>
            <a:ext cx="6127751" cy="297962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9" name="Рисунок 8">
            <a:extLst>
              <a:ext uri="{FF2B5EF4-FFF2-40B4-BE49-F238E27FC236}">
                <a16:creationId xmlns:a16="http://schemas.microsoft.com/office/drawing/2014/main" id="{2E27A946-30F6-49C0-B0F3-7D4C6F80DB8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008101" y="2"/>
            <a:ext cx="5183900" cy="6857999"/>
          </a:xfrm>
          <a:custGeom>
            <a:avLst/>
            <a:gdLst>
              <a:gd name="connsiteX0" fmla="*/ 0 w 4780955"/>
              <a:gd name="connsiteY0" fmla="*/ 0 h 5773019"/>
              <a:gd name="connsiteX1" fmla="*/ 4780955 w 4780955"/>
              <a:gd name="connsiteY1" fmla="*/ 0 h 5773019"/>
              <a:gd name="connsiteX2" fmla="*/ 4780955 w 4780955"/>
              <a:gd name="connsiteY2" fmla="*/ 5773019 h 5773019"/>
              <a:gd name="connsiteX3" fmla="*/ 630376 w 4780955"/>
              <a:gd name="connsiteY3" fmla="*/ 5773019 h 5773019"/>
              <a:gd name="connsiteX0" fmla="*/ 0 w 4780955"/>
              <a:gd name="connsiteY0" fmla="*/ 0 h 5786343"/>
              <a:gd name="connsiteX1" fmla="*/ 4780955 w 4780955"/>
              <a:gd name="connsiteY1" fmla="*/ 0 h 5786343"/>
              <a:gd name="connsiteX2" fmla="*/ 4780955 w 4780955"/>
              <a:gd name="connsiteY2" fmla="*/ 5773019 h 5786343"/>
              <a:gd name="connsiteX3" fmla="*/ 1096154 w 4780955"/>
              <a:gd name="connsiteY3" fmla="*/ 5786343 h 5786343"/>
              <a:gd name="connsiteX4" fmla="*/ 630376 w 4780955"/>
              <a:gd name="connsiteY4" fmla="*/ 5773019 h 5786343"/>
              <a:gd name="connsiteX5" fmla="*/ 0 w 4780955"/>
              <a:gd name="connsiteY5" fmla="*/ 0 h 5786343"/>
              <a:gd name="connsiteX0" fmla="*/ 1363266 w 6144221"/>
              <a:gd name="connsiteY0" fmla="*/ 0 h 5795147"/>
              <a:gd name="connsiteX1" fmla="*/ 6144221 w 6144221"/>
              <a:gd name="connsiteY1" fmla="*/ 0 h 5795147"/>
              <a:gd name="connsiteX2" fmla="*/ 6144221 w 6144221"/>
              <a:gd name="connsiteY2" fmla="*/ 5773019 h 5795147"/>
              <a:gd name="connsiteX3" fmla="*/ 2459420 w 6144221"/>
              <a:gd name="connsiteY3" fmla="*/ 5786343 h 5795147"/>
              <a:gd name="connsiteX4" fmla="*/ 0 w 6144221"/>
              <a:gd name="connsiteY4" fmla="*/ 5795147 h 5795147"/>
              <a:gd name="connsiteX5" fmla="*/ 1363266 w 6144221"/>
              <a:gd name="connsiteY5" fmla="*/ 0 h 5795147"/>
              <a:gd name="connsiteX0" fmla="*/ 1363266 w 6144221"/>
              <a:gd name="connsiteY0" fmla="*/ 0 h 5795147"/>
              <a:gd name="connsiteX1" fmla="*/ 6144221 w 6144221"/>
              <a:gd name="connsiteY1" fmla="*/ 0 h 5795147"/>
              <a:gd name="connsiteX2" fmla="*/ 6144221 w 6144221"/>
              <a:gd name="connsiteY2" fmla="*/ 5773019 h 5795147"/>
              <a:gd name="connsiteX3" fmla="*/ 0 w 6144221"/>
              <a:gd name="connsiteY3" fmla="*/ 5795147 h 5795147"/>
              <a:gd name="connsiteX4" fmla="*/ 1363266 w 6144221"/>
              <a:gd name="connsiteY4" fmla="*/ 0 h 5795147"/>
              <a:gd name="connsiteX0" fmla="*/ 1074532 w 5855487"/>
              <a:gd name="connsiteY0" fmla="*/ 0 h 5773019"/>
              <a:gd name="connsiteX1" fmla="*/ 5855487 w 5855487"/>
              <a:gd name="connsiteY1" fmla="*/ 0 h 5773019"/>
              <a:gd name="connsiteX2" fmla="*/ 5855487 w 5855487"/>
              <a:gd name="connsiteY2" fmla="*/ 5773019 h 5773019"/>
              <a:gd name="connsiteX3" fmla="*/ 0 w 5855487"/>
              <a:gd name="connsiteY3" fmla="*/ 5750892 h 5773019"/>
              <a:gd name="connsiteX4" fmla="*/ 1074532 w 5855487"/>
              <a:gd name="connsiteY4" fmla="*/ 0 h 5773019"/>
              <a:gd name="connsiteX0" fmla="*/ 1047034 w 5827989"/>
              <a:gd name="connsiteY0" fmla="*/ 0 h 5784084"/>
              <a:gd name="connsiteX1" fmla="*/ 5827989 w 5827989"/>
              <a:gd name="connsiteY1" fmla="*/ 0 h 5784084"/>
              <a:gd name="connsiteX2" fmla="*/ 5827989 w 5827989"/>
              <a:gd name="connsiteY2" fmla="*/ 5773019 h 5784084"/>
              <a:gd name="connsiteX3" fmla="*/ 0 w 5827989"/>
              <a:gd name="connsiteY3" fmla="*/ 5784084 h 5784084"/>
              <a:gd name="connsiteX4" fmla="*/ 1047034 w 5827989"/>
              <a:gd name="connsiteY4" fmla="*/ 0 h 5784084"/>
              <a:gd name="connsiteX0" fmla="*/ 1033285 w 5814240"/>
              <a:gd name="connsiteY0" fmla="*/ 0 h 5773021"/>
              <a:gd name="connsiteX1" fmla="*/ 5814240 w 5814240"/>
              <a:gd name="connsiteY1" fmla="*/ 0 h 5773021"/>
              <a:gd name="connsiteX2" fmla="*/ 5814240 w 5814240"/>
              <a:gd name="connsiteY2" fmla="*/ 5773019 h 5773021"/>
              <a:gd name="connsiteX3" fmla="*/ 0 w 5814240"/>
              <a:gd name="connsiteY3" fmla="*/ 5773021 h 5773021"/>
              <a:gd name="connsiteX4" fmla="*/ 1033285 w 5814240"/>
              <a:gd name="connsiteY4" fmla="*/ 0 h 5773021"/>
              <a:gd name="connsiteX0" fmla="*/ 1482591 w 5814240"/>
              <a:gd name="connsiteY0" fmla="*/ 0 h 5773021"/>
              <a:gd name="connsiteX1" fmla="*/ 5814240 w 5814240"/>
              <a:gd name="connsiteY1" fmla="*/ 0 h 5773021"/>
              <a:gd name="connsiteX2" fmla="*/ 5814240 w 5814240"/>
              <a:gd name="connsiteY2" fmla="*/ 5773019 h 5773021"/>
              <a:gd name="connsiteX3" fmla="*/ 0 w 5814240"/>
              <a:gd name="connsiteY3" fmla="*/ 5773021 h 5773021"/>
              <a:gd name="connsiteX4" fmla="*/ 1482591 w 5814240"/>
              <a:gd name="connsiteY4" fmla="*/ 0 h 57730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14240" h="5773021">
                <a:moveTo>
                  <a:pt x="1482591" y="0"/>
                </a:moveTo>
                <a:lnTo>
                  <a:pt x="5814240" y="0"/>
                </a:lnTo>
                <a:lnTo>
                  <a:pt x="5814240" y="5773019"/>
                </a:lnTo>
                <a:lnTo>
                  <a:pt x="0" y="5773021"/>
                </a:lnTo>
                <a:lnTo>
                  <a:pt x="1482591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effectLst>
            <a:innerShdw blurRad="330200" dist="50800" dir="10800000">
              <a:prstClr val="black">
                <a:alpha val="40000"/>
              </a:prstClr>
            </a:innerShdw>
          </a:effectLst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FA66959-4347-E848-A358-86C339F0BD2D}"/>
              </a:ext>
            </a:extLst>
          </p:cNvPr>
          <p:cNvSpPr txBox="1"/>
          <p:nvPr userDrawn="1"/>
        </p:nvSpPr>
        <p:spPr>
          <a:xfrm>
            <a:off x="1836145" y="6632154"/>
            <a:ext cx="65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endParaRPr lang="ru-RU" sz="1200" dirty="0" err="1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" name="Номер слайда 3">
            <a:extLst>
              <a:ext uri="{FF2B5EF4-FFF2-40B4-BE49-F238E27FC236}">
                <a16:creationId xmlns:a16="http://schemas.microsoft.com/office/drawing/2014/main" id="{FB2FC57A-26C8-44B6-B146-23F34133B0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9576" y="6455903"/>
            <a:ext cx="1214424" cy="2308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50">
                <a:solidFill>
                  <a:schemeClr val="bg1"/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394620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то справа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68651D85-208E-4EFB-B852-FE9A38347B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16465"/>
            <a:ext cx="6127751" cy="297962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9" name="Рисунок 8">
            <a:extLst>
              <a:ext uri="{FF2B5EF4-FFF2-40B4-BE49-F238E27FC236}">
                <a16:creationId xmlns:a16="http://schemas.microsoft.com/office/drawing/2014/main" id="{2E27A946-30F6-49C0-B0F3-7D4C6F80DB8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511825" y="2"/>
            <a:ext cx="7680177" cy="6857999"/>
          </a:xfrm>
          <a:custGeom>
            <a:avLst/>
            <a:gdLst>
              <a:gd name="connsiteX0" fmla="*/ 0 w 4780955"/>
              <a:gd name="connsiteY0" fmla="*/ 0 h 5773019"/>
              <a:gd name="connsiteX1" fmla="*/ 4780955 w 4780955"/>
              <a:gd name="connsiteY1" fmla="*/ 0 h 5773019"/>
              <a:gd name="connsiteX2" fmla="*/ 4780955 w 4780955"/>
              <a:gd name="connsiteY2" fmla="*/ 5773019 h 5773019"/>
              <a:gd name="connsiteX3" fmla="*/ 630376 w 4780955"/>
              <a:gd name="connsiteY3" fmla="*/ 5773019 h 5773019"/>
              <a:gd name="connsiteX0" fmla="*/ 0 w 4780955"/>
              <a:gd name="connsiteY0" fmla="*/ 0 h 5786343"/>
              <a:gd name="connsiteX1" fmla="*/ 4780955 w 4780955"/>
              <a:gd name="connsiteY1" fmla="*/ 0 h 5786343"/>
              <a:gd name="connsiteX2" fmla="*/ 4780955 w 4780955"/>
              <a:gd name="connsiteY2" fmla="*/ 5773019 h 5786343"/>
              <a:gd name="connsiteX3" fmla="*/ 1096154 w 4780955"/>
              <a:gd name="connsiteY3" fmla="*/ 5786343 h 5786343"/>
              <a:gd name="connsiteX4" fmla="*/ 630376 w 4780955"/>
              <a:gd name="connsiteY4" fmla="*/ 5773019 h 5786343"/>
              <a:gd name="connsiteX5" fmla="*/ 0 w 4780955"/>
              <a:gd name="connsiteY5" fmla="*/ 0 h 5786343"/>
              <a:gd name="connsiteX0" fmla="*/ 1363266 w 6144221"/>
              <a:gd name="connsiteY0" fmla="*/ 0 h 5795147"/>
              <a:gd name="connsiteX1" fmla="*/ 6144221 w 6144221"/>
              <a:gd name="connsiteY1" fmla="*/ 0 h 5795147"/>
              <a:gd name="connsiteX2" fmla="*/ 6144221 w 6144221"/>
              <a:gd name="connsiteY2" fmla="*/ 5773019 h 5795147"/>
              <a:gd name="connsiteX3" fmla="*/ 2459420 w 6144221"/>
              <a:gd name="connsiteY3" fmla="*/ 5786343 h 5795147"/>
              <a:gd name="connsiteX4" fmla="*/ 0 w 6144221"/>
              <a:gd name="connsiteY4" fmla="*/ 5795147 h 5795147"/>
              <a:gd name="connsiteX5" fmla="*/ 1363266 w 6144221"/>
              <a:gd name="connsiteY5" fmla="*/ 0 h 5795147"/>
              <a:gd name="connsiteX0" fmla="*/ 1363266 w 6144221"/>
              <a:gd name="connsiteY0" fmla="*/ 0 h 5795147"/>
              <a:gd name="connsiteX1" fmla="*/ 6144221 w 6144221"/>
              <a:gd name="connsiteY1" fmla="*/ 0 h 5795147"/>
              <a:gd name="connsiteX2" fmla="*/ 6144221 w 6144221"/>
              <a:gd name="connsiteY2" fmla="*/ 5773019 h 5795147"/>
              <a:gd name="connsiteX3" fmla="*/ 0 w 6144221"/>
              <a:gd name="connsiteY3" fmla="*/ 5795147 h 5795147"/>
              <a:gd name="connsiteX4" fmla="*/ 1363266 w 6144221"/>
              <a:gd name="connsiteY4" fmla="*/ 0 h 5795147"/>
              <a:gd name="connsiteX0" fmla="*/ 1074532 w 5855487"/>
              <a:gd name="connsiteY0" fmla="*/ 0 h 5773019"/>
              <a:gd name="connsiteX1" fmla="*/ 5855487 w 5855487"/>
              <a:gd name="connsiteY1" fmla="*/ 0 h 5773019"/>
              <a:gd name="connsiteX2" fmla="*/ 5855487 w 5855487"/>
              <a:gd name="connsiteY2" fmla="*/ 5773019 h 5773019"/>
              <a:gd name="connsiteX3" fmla="*/ 0 w 5855487"/>
              <a:gd name="connsiteY3" fmla="*/ 5750892 h 5773019"/>
              <a:gd name="connsiteX4" fmla="*/ 1074532 w 5855487"/>
              <a:gd name="connsiteY4" fmla="*/ 0 h 5773019"/>
              <a:gd name="connsiteX0" fmla="*/ 1047034 w 5827989"/>
              <a:gd name="connsiteY0" fmla="*/ 0 h 5784084"/>
              <a:gd name="connsiteX1" fmla="*/ 5827989 w 5827989"/>
              <a:gd name="connsiteY1" fmla="*/ 0 h 5784084"/>
              <a:gd name="connsiteX2" fmla="*/ 5827989 w 5827989"/>
              <a:gd name="connsiteY2" fmla="*/ 5773019 h 5784084"/>
              <a:gd name="connsiteX3" fmla="*/ 0 w 5827989"/>
              <a:gd name="connsiteY3" fmla="*/ 5784084 h 5784084"/>
              <a:gd name="connsiteX4" fmla="*/ 1047034 w 5827989"/>
              <a:gd name="connsiteY4" fmla="*/ 0 h 5784084"/>
              <a:gd name="connsiteX0" fmla="*/ 1033285 w 5814240"/>
              <a:gd name="connsiteY0" fmla="*/ 0 h 5773021"/>
              <a:gd name="connsiteX1" fmla="*/ 5814240 w 5814240"/>
              <a:gd name="connsiteY1" fmla="*/ 0 h 5773021"/>
              <a:gd name="connsiteX2" fmla="*/ 5814240 w 5814240"/>
              <a:gd name="connsiteY2" fmla="*/ 5773019 h 5773021"/>
              <a:gd name="connsiteX3" fmla="*/ 0 w 5814240"/>
              <a:gd name="connsiteY3" fmla="*/ 5773021 h 5773021"/>
              <a:gd name="connsiteX4" fmla="*/ 1033285 w 5814240"/>
              <a:gd name="connsiteY4" fmla="*/ 0 h 57730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14240" h="5773021">
                <a:moveTo>
                  <a:pt x="1033285" y="0"/>
                </a:moveTo>
                <a:lnTo>
                  <a:pt x="5814240" y="0"/>
                </a:lnTo>
                <a:lnTo>
                  <a:pt x="5814240" y="5773019"/>
                </a:lnTo>
                <a:lnTo>
                  <a:pt x="0" y="5773021"/>
                </a:lnTo>
                <a:lnTo>
                  <a:pt x="1033285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effectLst>
            <a:innerShdw blurRad="330200" dist="50800" dir="10800000">
              <a:prstClr val="black">
                <a:alpha val="40000"/>
              </a:prstClr>
            </a:innerShdw>
          </a:effectLst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5" name="Номер слайда 3">
            <a:extLst>
              <a:ext uri="{FF2B5EF4-FFF2-40B4-BE49-F238E27FC236}">
                <a16:creationId xmlns:a16="http://schemas.microsoft.com/office/drawing/2014/main" id="{B1F7E2A0-17FC-4DDB-9260-F4D4B305DF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9576" y="6455903"/>
            <a:ext cx="1214424" cy="2308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50">
                <a:solidFill>
                  <a:schemeClr val="bg1"/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4427525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Рисунок 3">
            <a:extLst>
              <a:ext uri="{FF2B5EF4-FFF2-40B4-BE49-F238E27FC236}">
                <a16:creationId xmlns:a16="http://schemas.microsoft.com/office/drawing/2014/main" id="{4D13F6A0-1435-45CC-AA70-5A9B1984274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058770" y="1089025"/>
            <a:ext cx="3725230" cy="52197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innerShdw blurRad="241300" dist="50800" dir="10800000">
              <a:prstClr val="black">
                <a:alpha val="47000"/>
              </a:prstClr>
            </a:innerShdw>
          </a:effectLst>
        </p:spPr>
        <p:txBody>
          <a:bodyPr anchor="ctr"/>
          <a:lstStyle>
            <a:lvl1pPr marL="0" indent="0" algn="ctr">
              <a:buNone/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17" name="Рисунок 3">
            <a:extLst>
              <a:ext uri="{FF2B5EF4-FFF2-40B4-BE49-F238E27FC236}">
                <a16:creationId xmlns:a16="http://schemas.microsoft.com/office/drawing/2014/main" id="{E49B0927-0DF3-4EA6-8E6A-8566B73B551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233385" y="1089025"/>
            <a:ext cx="3725230" cy="52197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innerShdw blurRad="241300" dist="50800" dir="10800000">
              <a:prstClr val="black">
                <a:alpha val="47000"/>
              </a:prstClr>
            </a:innerShdw>
          </a:effectLst>
        </p:spPr>
        <p:txBody>
          <a:bodyPr anchor="ctr"/>
          <a:lstStyle>
            <a:lvl1pPr marL="0" indent="0" algn="ctr">
              <a:buNone/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16" name="Рисунок 3">
            <a:extLst>
              <a:ext uri="{FF2B5EF4-FFF2-40B4-BE49-F238E27FC236}">
                <a16:creationId xmlns:a16="http://schemas.microsoft.com/office/drawing/2014/main" id="{494C496B-4D71-480F-81D7-5164A7EC843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07988" y="1089025"/>
            <a:ext cx="3725230" cy="52197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38279FAF-2C60-4C4B-B4E7-6F411F8763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16465"/>
            <a:ext cx="10080500" cy="297962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7" name="Номер слайда 3">
            <a:extLst>
              <a:ext uri="{FF2B5EF4-FFF2-40B4-BE49-F238E27FC236}">
                <a16:creationId xmlns:a16="http://schemas.microsoft.com/office/drawing/2014/main" id="{01050C9A-46D3-43D5-AC1E-77E1B481482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9576" y="6455903"/>
            <a:ext cx="1214424" cy="2308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5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8151353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3">
            <a:extLst>
              <a:ext uri="{FF2B5EF4-FFF2-40B4-BE49-F238E27FC236}">
                <a16:creationId xmlns:a16="http://schemas.microsoft.com/office/drawing/2014/main" id="{E0E688BE-F902-4A20-9F64-B6486C2AC1E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854439"/>
            <a:ext cx="6096000" cy="299028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19" name="Рисунок 3">
            <a:extLst>
              <a:ext uri="{FF2B5EF4-FFF2-40B4-BE49-F238E27FC236}">
                <a16:creationId xmlns:a16="http://schemas.microsoft.com/office/drawing/2014/main" id="{23B7984E-9797-40F5-94D2-9D4C20DB768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096000" y="854439"/>
            <a:ext cx="6096000" cy="299028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20" name="Рисунок 3">
            <a:extLst>
              <a:ext uri="{FF2B5EF4-FFF2-40B4-BE49-F238E27FC236}">
                <a16:creationId xmlns:a16="http://schemas.microsoft.com/office/drawing/2014/main" id="{38A976E1-BAA4-4CC6-BB42-ED758E8674A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3844732"/>
            <a:ext cx="6096000" cy="301326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21" name="Рисунок 3">
            <a:extLst>
              <a:ext uri="{FF2B5EF4-FFF2-40B4-BE49-F238E27FC236}">
                <a16:creationId xmlns:a16="http://schemas.microsoft.com/office/drawing/2014/main" id="{D73CEDD6-5C83-4A20-8D3D-9D58FE191B5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3844719"/>
            <a:ext cx="6096000" cy="30116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5" name="Заголовок 4">
            <a:extLst>
              <a:ext uri="{FF2B5EF4-FFF2-40B4-BE49-F238E27FC236}">
                <a16:creationId xmlns:a16="http://schemas.microsoft.com/office/drawing/2014/main" id="{DB94279E-A9EC-4144-93F7-C3F231A9C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8" name="Номер слайда 3">
            <a:extLst>
              <a:ext uri="{FF2B5EF4-FFF2-40B4-BE49-F238E27FC236}">
                <a16:creationId xmlns:a16="http://schemas.microsoft.com/office/drawing/2014/main" id="{6E8728F2-C6B1-4F4E-9535-F11CEF6441F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9576" y="6455903"/>
            <a:ext cx="1214424" cy="2308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5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3709451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3">
            <a:extLst>
              <a:ext uri="{FF2B5EF4-FFF2-40B4-BE49-F238E27FC236}">
                <a16:creationId xmlns:a16="http://schemas.microsoft.com/office/drawing/2014/main" id="{E0E688BE-F902-4A20-9F64-B6486C2AC1E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064000" y="847153"/>
            <a:ext cx="4064000" cy="302077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20" name="Рисунок 3">
            <a:extLst>
              <a:ext uri="{FF2B5EF4-FFF2-40B4-BE49-F238E27FC236}">
                <a16:creationId xmlns:a16="http://schemas.microsoft.com/office/drawing/2014/main" id="{38A976E1-BAA4-4CC6-BB42-ED758E8674A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064000" y="3867926"/>
            <a:ext cx="4064000" cy="299007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CE936E8D-7CE9-4FD0-AFAA-FC4FB40C00A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629F11A-CAD2-4FD2-9793-0DC6E98D19B3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5" name="Заголовок 4">
            <a:extLst>
              <a:ext uri="{FF2B5EF4-FFF2-40B4-BE49-F238E27FC236}">
                <a16:creationId xmlns:a16="http://schemas.microsoft.com/office/drawing/2014/main" id="{DB94279E-A9EC-4144-93F7-C3F231A9C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8" name="Рисунок 3">
            <a:extLst>
              <a:ext uri="{FF2B5EF4-FFF2-40B4-BE49-F238E27FC236}">
                <a16:creationId xmlns:a16="http://schemas.microsoft.com/office/drawing/2014/main" id="{6156F234-5346-4B46-A1A0-027C6E9DE0E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847153"/>
            <a:ext cx="4064000" cy="302077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9" name="Рисунок 3">
            <a:extLst>
              <a:ext uri="{FF2B5EF4-FFF2-40B4-BE49-F238E27FC236}">
                <a16:creationId xmlns:a16="http://schemas.microsoft.com/office/drawing/2014/main" id="{124C0465-96DF-4176-8136-B9D81FF3106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3867926"/>
            <a:ext cx="4064000" cy="299007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12" name="Рисунок 3">
            <a:extLst>
              <a:ext uri="{FF2B5EF4-FFF2-40B4-BE49-F238E27FC236}">
                <a16:creationId xmlns:a16="http://schemas.microsoft.com/office/drawing/2014/main" id="{0E75AFA0-CDCE-40E2-AD27-5536065593FD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128000" y="847153"/>
            <a:ext cx="4064000" cy="302077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13" name="Рисунок 3">
            <a:extLst>
              <a:ext uri="{FF2B5EF4-FFF2-40B4-BE49-F238E27FC236}">
                <a16:creationId xmlns:a16="http://schemas.microsoft.com/office/drawing/2014/main" id="{2AA5E258-DCA7-4F47-ADB1-120FC237BA7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128000" y="3867926"/>
            <a:ext cx="4064000" cy="299007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3996007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3">
            <a:extLst>
              <a:ext uri="{FF2B5EF4-FFF2-40B4-BE49-F238E27FC236}">
                <a16:creationId xmlns:a16="http://schemas.microsoft.com/office/drawing/2014/main" id="{E0E688BE-F902-4A20-9F64-B6486C2AC1E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048000" y="854440"/>
            <a:ext cx="3048000" cy="305332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20" name="Рисунок 3">
            <a:extLst>
              <a:ext uri="{FF2B5EF4-FFF2-40B4-BE49-F238E27FC236}">
                <a16:creationId xmlns:a16="http://schemas.microsoft.com/office/drawing/2014/main" id="{38A976E1-BAA4-4CC6-BB42-ED758E8674A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048000" y="3907763"/>
            <a:ext cx="3048000" cy="295023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CE936E8D-7CE9-4FD0-AFAA-FC4FB40C00A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629F11A-CAD2-4FD2-9793-0DC6E98D19B3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5" name="Заголовок 4">
            <a:extLst>
              <a:ext uri="{FF2B5EF4-FFF2-40B4-BE49-F238E27FC236}">
                <a16:creationId xmlns:a16="http://schemas.microsoft.com/office/drawing/2014/main" id="{DB94279E-A9EC-4144-93F7-C3F231A9C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8" name="Рисунок 3">
            <a:extLst>
              <a:ext uri="{FF2B5EF4-FFF2-40B4-BE49-F238E27FC236}">
                <a16:creationId xmlns:a16="http://schemas.microsoft.com/office/drawing/2014/main" id="{6156F234-5346-4B46-A1A0-027C6E9DE0E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854440"/>
            <a:ext cx="3048000" cy="305332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9" name="Рисунок 3">
            <a:extLst>
              <a:ext uri="{FF2B5EF4-FFF2-40B4-BE49-F238E27FC236}">
                <a16:creationId xmlns:a16="http://schemas.microsoft.com/office/drawing/2014/main" id="{124C0465-96DF-4176-8136-B9D81FF3106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3907763"/>
            <a:ext cx="3048000" cy="295023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10" name="Рисунок 3">
            <a:extLst>
              <a:ext uri="{FF2B5EF4-FFF2-40B4-BE49-F238E27FC236}">
                <a16:creationId xmlns:a16="http://schemas.microsoft.com/office/drawing/2014/main" id="{81DC648D-520B-4661-B453-8BCDC6AEB9A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9144000" y="854440"/>
            <a:ext cx="3048000" cy="305332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11" name="Рисунок 3">
            <a:extLst>
              <a:ext uri="{FF2B5EF4-FFF2-40B4-BE49-F238E27FC236}">
                <a16:creationId xmlns:a16="http://schemas.microsoft.com/office/drawing/2014/main" id="{5E764785-3004-4AA2-B3DD-774E489A2ED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144000" y="3907763"/>
            <a:ext cx="3048000" cy="295023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12" name="Рисунок 3">
            <a:extLst>
              <a:ext uri="{FF2B5EF4-FFF2-40B4-BE49-F238E27FC236}">
                <a16:creationId xmlns:a16="http://schemas.microsoft.com/office/drawing/2014/main" id="{0E75AFA0-CDCE-40E2-AD27-5536065593FD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096000" y="854440"/>
            <a:ext cx="3048000" cy="305332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13" name="Рисунок 3">
            <a:extLst>
              <a:ext uri="{FF2B5EF4-FFF2-40B4-BE49-F238E27FC236}">
                <a16:creationId xmlns:a16="http://schemas.microsoft.com/office/drawing/2014/main" id="{2AA5E258-DCA7-4F47-ADB1-120FC237BA7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096000" y="3907763"/>
            <a:ext cx="3048000" cy="295023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39596625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 фото люде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40" name="Номер слайда 3">
            <a:extLst>
              <a:ext uri="{FF2B5EF4-FFF2-40B4-BE49-F238E27FC236}">
                <a16:creationId xmlns:a16="http://schemas.microsoft.com/office/drawing/2014/main" id="{A8B825E9-3CE9-449C-A43E-4066530567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9576" y="6455903"/>
            <a:ext cx="1214424" cy="2308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5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grpSp>
        <p:nvGrpSpPr>
          <p:cNvPr id="43" name="Группа 42">
            <a:extLst>
              <a:ext uri="{FF2B5EF4-FFF2-40B4-BE49-F238E27FC236}">
                <a16:creationId xmlns:a16="http://schemas.microsoft.com/office/drawing/2014/main" id="{9830B810-DF48-4ABA-80FB-35B4D8562FCE}"/>
              </a:ext>
            </a:extLst>
          </p:cNvPr>
          <p:cNvGrpSpPr/>
          <p:nvPr userDrawn="1"/>
        </p:nvGrpSpPr>
        <p:grpSpPr>
          <a:xfrm>
            <a:off x="4142616" y="1331778"/>
            <a:ext cx="1131366" cy="1131366"/>
            <a:chOff x="6075594" y="3202141"/>
            <a:chExt cx="1131366" cy="1131366"/>
          </a:xfrm>
        </p:grpSpPr>
        <p:sp>
          <p:nvSpPr>
            <p:cNvPr id="44" name="Овал 43">
              <a:extLst>
                <a:ext uri="{FF2B5EF4-FFF2-40B4-BE49-F238E27FC236}">
                  <a16:creationId xmlns:a16="http://schemas.microsoft.com/office/drawing/2014/main" id="{71B9DBE6-B874-4A57-978A-6070529554DE}"/>
                </a:ext>
              </a:extLst>
            </p:cNvPr>
            <p:cNvSpPr/>
            <p:nvPr/>
          </p:nvSpPr>
          <p:spPr>
            <a:xfrm rot="16200000" flipH="1">
              <a:off x="6168251" y="3294799"/>
              <a:ext cx="946052" cy="946052"/>
            </a:xfrm>
            <a:prstGeom prst="ellipse">
              <a:avLst/>
            </a:prstGeom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lumMod val="50000"/>
                  </a:schemeClr>
                </a:gs>
              </a:gsLst>
              <a:lin ang="2700000" scaled="1"/>
              <a:tileRect/>
            </a:gradFill>
            <a:ln w="38100" cap="flat">
              <a:solidFill>
                <a:schemeClr val="bg1"/>
              </a:solidFill>
              <a:prstDash val="solid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tlCol="0" anchor="ctr"/>
            <a:lstStyle/>
            <a:p>
              <a:pPr algn="ctr" defTabSz="514363">
                <a:defRPr/>
              </a:pPr>
              <a:endParaRPr lang="ru-RU" sz="1013">
                <a:solidFill>
                  <a:srgbClr val="223051"/>
                </a:solidFill>
                <a:latin typeface="Play"/>
              </a:endParaRPr>
            </a:p>
          </p:txBody>
        </p:sp>
        <p:sp>
          <p:nvSpPr>
            <p:cNvPr id="45" name="Овал 44">
              <a:extLst>
                <a:ext uri="{FF2B5EF4-FFF2-40B4-BE49-F238E27FC236}">
                  <a16:creationId xmlns:a16="http://schemas.microsoft.com/office/drawing/2014/main" id="{AD6DFC6E-1B92-45F2-A13B-4055964CC6A6}"/>
                </a:ext>
              </a:extLst>
            </p:cNvPr>
            <p:cNvSpPr/>
            <p:nvPr/>
          </p:nvSpPr>
          <p:spPr>
            <a:xfrm>
              <a:off x="6075594" y="3202141"/>
              <a:ext cx="1131366" cy="1131366"/>
            </a:xfrm>
            <a:prstGeom prst="ellipse">
              <a:avLst/>
            </a:prstGeom>
            <a:noFill/>
            <a:ln>
              <a:gradFill flip="none" rotWithShape="1">
                <a:gsLst>
                  <a:gs pos="0">
                    <a:schemeClr val="accent1">
                      <a:alpha val="70000"/>
                    </a:schemeClr>
                  </a:gs>
                  <a:gs pos="100000">
                    <a:schemeClr val="accent4">
                      <a:alpha val="70000"/>
                    </a:schemeClr>
                  </a:gs>
                </a:gsLst>
                <a:lin ang="0" scaled="1"/>
                <a:tileRect/>
              </a:gradFill>
              <a:prstDash val="sysDot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6" name="Группа 45">
            <a:extLst>
              <a:ext uri="{FF2B5EF4-FFF2-40B4-BE49-F238E27FC236}">
                <a16:creationId xmlns:a16="http://schemas.microsoft.com/office/drawing/2014/main" id="{3F76EDD8-4360-421B-AD78-1331149B1998}"/>
              </a:ext>
            </a:extLst>
          </p:cNvPr>
          <p:cNvGrpSpPr/>
          <p:nvPr userDrawn="1"/>
        </p:nvGrpSpPr>
        <p:grpSpPr>
          <a:xfrm>
            <a:off x="4142616" y="5086359"/>
            <a:ext cx="1131366" cy="1131366"/>
            <a:chOff x="6075594" y="3202141"/>
            <a:chExt cx="1131366" cy="1131366"/>
          </a:xfrm>
        </p:grpSpPr>
        <p:sp>
          <p:nvSpPr>
            <p:cNvPr id="47" name="Овал 46">
              <a:extLst>
                <a:ext uri="{FF2B5EF4-FFF2-40B4-BE49-F238E27FC236}">
                  <a16:creationId xmlns:a16="http://schemas.microsoft.com/office/drawing/2014/main" id="{42EBE76A-27BB-4221-B583-5B101630D904}"/>
                </a:ext>
              </a:extLst>
            </p:cNvPr>
            <p:cNvSpPr/>
            <p:nvPr/>
          </p:nvSpPr>
          <p:spPr>
            <a:xfrm rot="16200000" flipH="1">
              <a:off x="6168251" y="3294799"/>
              <a:ext cx="946052" cy="946052"/>
            </a:xfrm>
            <a:prstGeom prst="ellipse">
              <a:avLst/>
            </a:prstGeom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lumMod val="50000"/>
                  </a:schemeClr>
                </a:gs>
              </a:gsLst>
              <a:lin ang="2700000" scaled="1"/>
              <a:tileRect/>
            </a:gradFill>
            <a:ln w="38100" cap="flat">
              <a:solidFill>
                <a:schemeClr val="bg1"/>
              </a:solidFill>
              <a:prstDash val="solid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tlCol="0" anchor="ctr"/>
            <a:lstStyle/>
            <a:p>
              <a:pPr algn="ctr" defTabSz="514363">
                <a:defRPr/>
              </a:pPr>
              <a:endParaRPr lang="ru-RU" sz="1013">
                <a:solidFill>
                  <a:srgbClr val="223051"/>
                </a:solidFill>
                <a:latin typeface="Play"/>
              </a:endParaRPr>
            </a:p>
          </p:txBody>
        </p:sp>
        <p:sp>
          <p:nvSpPr>
            <p:cNvPr id="48" name="Овал 47">
              <a:extLst>
                <a:ext uri="{FF2B5EF4-FFF2-40B4-BE49-F238E27FC236}">
                  <a16:creationId xmlns:a16="http://schemas.microsoft.com/office/drawing/2014/main" id="{A911FA29-3E52-461D-9CBC-BFD746B88F40}"/>
                </a:ext>
              </a:extLst>
            </p:cNvPr>
            <p:cNvSpPr/>
            <p:nvPr/>
          </p:nvSpPr>
          <p:spPr>
            <a:xfrm>
              <a:off x="6075594" y="3202141"/>
              <a:ext cx="1131366" cy="1131366"/>
            </a:xfrm>
            <a:prstGeom prst="ellipse">
              <a:avLst/>
            </a:prstGeom>
            <a:noFill/>
            <a:ln>
              <a:gradFill flip="none" rotWithShape="1">
                <a:gsLst>
                  <a:gs pos="0">
                    <a:schemeClr val="accent1">
                      <a:alpha val="70000"/>
                    </a:schemeClr>
                  </a:gs>
                  <a:gs pos="100000">
                    <a:schemeClr val="accent4">
                      <a:alpha val="70000"/>
                    </a:schemeClr>
                  </a:gs>
                </a:gsLst>
                <a:lin ang="0" scaled="1"/>
                <a:tileRect/>
              </a:gradFill>
              <a:prstDash val="sysDot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73" name="Группа 72">
            <a:extLst>
              <a:ext uri="{FF2B5EF4-FFF2-40B4-BE49-F238E27FC236}">
                <a16:creationId xmlns:a16="http://schemas.microsoft.com/office/drawing/2014/main" id="{8477815A-9372-4166-8C53-ADB14182CF3E}"/>
              </a:ext>
            </a:extLst>
          </p:cNvPr>
          <p:cNvGrpSpPr/>
          <p:nvPr userDrawn="1"/>
        </p:nvGrpSpPr>
        <p:grpSpPr>
          <a:xfrm>
            <a:off x="4142616" y="3209069"/>
            <a:ext cx="1131366" cy="1131366"/>
            <a:chOff x="6075594" y="3202141"/>
            <a:chExt cx="1131366" cy="1131366"/>
          </a:xfrm>
        </p:grpSpPr>
        <p:sp>
          <p:nvSpPr>
            <p:cNvPr id="74" name="Овал 73">
              <a:extLst>
                <a:ext uri="{FF2B5EF4-FFF2-40B4-BE49-F238E27FC236}">
                  <a16:creationId xmlns:a16="http://schemas.microsoft.com/office/drawing/2014/main" id="{BE6C9B0B-994E-4789-8998-5C6B255DA2D5}"/>
                </a:ext>
              </a:extLst>
            </p:cNvPr>
            <p:cNvSpPr/>
            <p:nvPr/>
          </p:nvSpPr>
          <p:spPr>
            <a:xfrm rot="16200000" flipH="1">
              <a:off x="6168251" y="3294799"/>
              <a:ext cx="946052" cy="946052"/>
            </a:xfrm>
            <a:prstGeom prst="ellipse">
              <a:avLst/>
            </a:prstGeom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lumMod val="50000"/>
                  </a:schemeClr>
                </a:gs>
              </a:gsLst>
              <a:lin ang="2700000" scaled="1"/>
              <a:tileRect/>
            </a:gradFill>
            <a:ln w="38100" cap="flat">
              <a:solidFill>
                <a:schemeClr val="bg1"/>
              </a:solidFill>
              <a:prstDash val="solid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tlCol="0" anchor="ctr"/>
            <a:lstStyle/>
            <a:p>
              <a:pPr algn="ctr" defTabSz="514363">
                <a:defRPr/>
              </a:pPr>
              <a:endParaRPr lang="ru-RU" sz="1013">
                <a:solidFill>
                  <a:srgbClr val="223051"/>
                </a:solidFill>
                <a:latin typeface="Play"/>
              </a:endParaRPr>
            </a:p>
          </p:txBody>
        </p:sp>
        <p:sp>
          <p:nvSpPr>
            <p:cNvPr id="75" name="Овал 74">
              <a:extLst>
                <a:ext uri="{FF2B5EF4-FFF2-40B4-BE49-F238E27FC236}">
                  <a16:creationId xmlns:a16="http://schemas.microsoft.com/office/drawing/2014/main" id="{B2617822-A962-4450-A28B-B7CA8D324B9F}"/>
                </a:ext>
              </a:extLst>
            </p:cNvPr>
            <p:cNvSpPr/>
            <p:nvPr/>
          </p:nvSpPr>
          <p:spPr>
            <a:xfrm>
              <a:off x="6075594" y="3202141"/>
              <a:ext cx="1131366" cy="1131366"/>
            </a:xfrm>
            <a:prstGeom prst="ellipse">
              <a:avLst/>
            </a:prstGeom>
            <a:noFill/>
            <a:ln>
              <a:gradFill flip="none" rotWithShape="1">
                <a:gsLst>
                  <a:gs pos="0">
                    <a:schemeClr val="accent1">
                      <a:alpha val="70000"/>
                    </a:schemeClr>
                  </a:gs>
                  <a:gs pos="100000">
                    <a:schemeClr val="accent4">
                      <a:alpha val="70000"/>
                    </a:schemeClr>
                  </a:gs>
                </a:gsLst>
                <a:lin ang="0" scaled="1"/>
                <a:tileRect/>
              </a:gradFill>
              <a:prstDash val="sysDot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76" name="Группа 75">
            <a:extLst>
              <a:ext uri="{FF2B5EF4-FFF2-40B4-BE49-F238E27FC236}">
                <a16:creationId xmlns:a16="http://schemas.microsoft.com/office/drawing/2014/main" id="{9EB7F262-5179-4A70-8E18-EAC450B7BD78}"/>
              </a:ext>
            </a:extLst>
          </p:cNvPr>
          <p:cNvGrpSpPr/>
          <p:nvPr userDrawn="1"/>
        </p:nvGrpSpPr>
        <p:grpSpPr>
          <a:xfrm>
            <a:off x="409085" y="1331778"/>
            <a:ext cx="1131366" cy="1131366"/>
            <a:chOff x="6075594" y="3202141"/>
            <a:chExt cx="1131366" cy="1131366"/>
          </a:xfrm>
        </p:grpSpPr>
        <p:sp>
          <p:nvSpPr>
            <p:cNvPr id="77" name="Овал 76">
              <a:extLst>
                <a:ext uri="{FF2B5EF4-FFF2-40B4-BE49-F238E27FC236}">
                  <a16:creationId xmlns:a16="http://schemas.microsoft.com/office/drawing/2014/main" id="{BF1089C5-282F-409C-AE1F-2FE4264DA2AB}"/>
                </a:ext>
              </a:extLst>
            </p:cNvPr>
            <p:cNvSpPr/>
            <p:nvPr/>
          </p:nvSpPr>
          <p:spPr>
            <a:xfrm rot="16200000" flipH="1">
              <a:off x="6168251" y="3294799"/>
              <a:ext cx="946052" cy="946052"/>
            </a:xfrm>
            <a:prstGeom prst="ellipse">
              <a:avLst/>
            </a:prstGeom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lumMod val="50000"/>
                  </a:schemeClr>
                </a:gs>
              </a:gsLst>
              <a:lin ang="2700000" scaled="1"/>
              <a:tileRect/>
            </a:gradFill>
            <a:ln w="38100" cap="flat">
              <a:solidFill>
                <a:schemeClr val="bg1"/>
              </a:solidFill>
              <a:prstDash val="solid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tlCol="0" anchor="ctr"/>
            <a:lstStyle/>
            <a:p>
              <a:pPr algn="ctr" defTabSz="514363">
                <a:defRPr/>
              </a:pPr>
              <a:endParaRPr lang="ru-RU" sz="1013">
                <a:solidFill>
                  <a:srgbClr val="223051"/>
                </a:solidFill>
                <a:latin typeface="Play"/>
              </a:endParaRPr>
            </a:p>
          </p:txBody>
        </p:sp>
        <p:sp>
          <p:nvSpPr>
            <p:cNvPr id="78" name="Овал 77">
              <a:extLst>
                <a:ext uri="{FF2B5EF4-FFF2-40B4-BE49-F238E27FC236}">
                  <a16:creationId xmlns:a16="http://schemas.microsoft.com/office/drawing/2014/main" id="{B47E478B-B517-40F2-8369-48E0A25C2842}"/>
                </a:ext>
              </a:extLst>
            </p:cNvPr>
            <p:cNvSpPr/>
            <p:nvPr/>
          </p:nvSpPr>
          <p:spPr>
            <a:xfrm>
              <a:off x="6075594" y="3202141"/>
              <a:ext cx="1131366" cy="1131366"/>
            </a:xfrm>
            <a:prstGeom prst="ellipse">
              <a:avLst/>
            </a:prstGeom>
            <a:noFill/>
            <a:ln>
              <a:gradFill flip="none" rotWithShape="1">
                <a:gsLst>
                  <a:gs pos="0">
                    <a:schemeClr val="accent1">
                      <a:alpha val="70000"/>
                    </a:schemeClr>
                  </a:gs>
                  <a:gs pos="100000">
                    <a:schemeClr val="accent4">
                      <a:alpha val="70000"/>
                    </a:schemeClr>
                  </a:gs>
                </a:gsLst>
                <a:lin ang="0" scaled="1"/>
                <a:tileRect/>
              </a:gradFill>
              <a:prstDash val="sysDot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79" name="Группа 78">
            <a:extLst>
              <a:ext uri="{FF2B5EF4-FFF2-40B4-BE49-F238E27FC236}">
                <a16:creationId xmlns:a16="http://schemas.microsoft.com/office/drawing/2014/main" id="{F34F23CE-FE4F-48DF-B548-4C6A4AF87AB5}"/>
              </a:ext>
            </a:extLst>
          </p:cNvPr>
          <p:cNvGrpSpPr/>
          <p:nvPr userDrawn="1"/>
        </p:nvGrpSpPr>
        <p:grpSpPr>
          <a:xfrm>
            <a:off x="409085" y="5086359"/>
            <a:ext cx="1131366" cy="1131366"/>
            <a:chOff x="6075594" y="3202141"/>
            <a:chExt cx="1131366" cy="1131366"/>
          </a:xfrm>
        </p:grpSpPr>
        <p:sp>
          <p:nvSpPr>
            <p:cNvPr id="80" name="Овал 79">
              <a:extLst>
                <a:ext uri="{FF2B5EF4-FFF2-40B4-BE49-F238E27FC236}">
                  <a16:creationId xmlns:a16="http://schemas.microsoft.com/office/drawing/2014/main" id="{DB2AB282-F5F2-41C4-A5E2-55AAA1116E95}"/>
                </a:ext>
              </a:extLst>
            </p:cNvPr>
            <p:cNvSpPr/>
            <p:nvPr/>
          </p:nvSpPr>
          <p:spPr>
            <a:xfrm rot="16200000" flipH="1">
              <a:off x="6168251" y="3294799"/>
              <a:ext cx="946052" cy="946052"/>
            </a:xfrm>
            <a:prstGeom prst="ellipse">
              <a:avLst/>
            </a:prstGeom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lumMod val="50000"/>
                  </a:schemeClr>
                </a:gs>
              </a:gsLst>
              <a:lin ang="2700000" scaled="1"/>
              <a:tileRect/>
            </a:gradFill>
            <a:ln w="38100" cap="flat">
              <a:solidFill>
                <a:schemeClr val="bg1"/>
              </a:solidFill>
              <a:prstDash val="solid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tlCol="0" anchor="ctr"/>
            <a:lstStyle/>
            <a:p>
              <a:pPr algn="ctr" defTabSz="514363">
                <a:defRPr/>
              </a:pPr>
              <a:endParaRPr lang="ru-RU" sz="1013">
                <a:solidFill>
                  <a:srgbClr val="223051"/>
                </a:solidFill>
                <a:latin typeface="Play"/>
              </a:endParaRPr>
            </a:p>
          </p:txBody>
        </p:sp>
        <p:sp>
          <p:nvSpPr>
            <p:cNvPr id="81" name="Овал 80">
              <a:extLst>
                <a:ext uri="{FF2B5EF4-FFF2-40B4-BE49-F238E27FC236}">
                  <a16:creationId xmlns:a16="http://schemas.microsoft.com/office/drawing/2014/main" id="{BDD5CE27-89C7-4F9D-9EE0-5E83AB91F247}"/>
                </a:ext>
              </a:extLst>
            </p:cNvPr>
            <p:cNvSpPr/>
            <p:nvPr/>
          </p:nvSpPr>
          <p:spPr>
            <a:xfrm>
              <a:off x="6075594" y="3202141"/>
              <a:ext cx="1131366" cy="1131366"/>
            </a:xfrm>
            <a:prstGeom prst="ellipse">
              <a:avLst/>
            </a:prstGeom>
            <a:noFill/>
            <a:ln>
              <a:gradFill flip="none" rotWithShape="1">
                <a:gsLst>
                  <a:gs pos="0">
                    <a:schemeClr val="accent1">
                      <a:alpha val="70000"/>
                    </a:schemeClr>
                  </a:gs>
                  <a:gs pos="100000">
                    <a:schemeClr val="accent4">
                      <a:alpha val="70000"/>
                    </a:schemeClr>
                  </a:gs>
                </a:gsLst>
                <a:lin ang="0" scaled="1"/>
                <a:tileRect/>
              </a:gradFill>
              <a:prstDash val="sysDot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82" name="Группа 81">
            <a:extLst>
              <a:ext uri="{FF2B5EF4-FFF2-40B4-BE49-F238E27FC236}">
                <a16:creationId xmlns:a16="http://schemas.microsoft.com/office/drawing/2014/main" id="{3F2276E9-115C-4288-8F88-3AF249938BB5}"/>
              </a:ext>
            </a:extLst>
          </p:cNvPr>
          <p:cNvGrpSpPr/>
          <p:nvPr userDrawn="1"/>
        </p:nvGrpSpPr>
        <p:grpSpPr>
          <a:xfrm>
            <a:off x="409085" y="3209069"/>
            <a:ext cx="1131366" cy="1131366"/>
            <a:chOff x="6075594" y="3202141"/>
            <a:chExt cx="1131366" cy="1131366"/>
          </a:xfrm>
        </p:grpSpPr>
        <p:sp>
          <p:nvSpPr>
            <p:cNvPr id="83" name="Овал 82">
              <a:extLst>
                <a:ext uri="{FF2B5EF4-FFF2-40B4-BE49-F238E27FC236}">
                  <a16:creationId xmlns:a16="http://schemas.microsoft.com/office/drawing/2014/main" id="{3C39AB33-BED7-46E0-8A03-C62EB75C2040}"/>
                </a:ext>
              </a:extLst>
            </p:cNvPr>
            <p:cNvSpPr/>
            <p:nvPr/>
          </p:nvSpPr>
          <p:spPr>
            <a:xfrm rot="16200000" flipH="1">
              <a:off x="6168251" y="3294799"/>
              <a:ext cx="946052" cy="946052"/>
            </a:xfrm>
            <a:prstGeom prst="ellipse">
              <a:avLst/>
            </a:prstGeom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lumMod val="50000"/>
                  </a:schemeClr>
                </a:gs>
              </a:gsLst>
              <a:lin ang="2700000" scaled="1"/>
              <a:tileRect/>
            </a:gradFill>
            <a:ln w="38100" cap="flat">
              <a:solidFill>
                <a:schemeClr val="bg1"/>
              </a:solidFill>
              <a:prstDash val="solid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tlCol="0" anchor="ctr"/>
            <a:lstStyle/>
            <a:p>
              <a:pPr algn="ctr" defTabSz="514363">
                <a:defRPr/>
              </a:pPr>
              <a:endParaRPr lang="ru-RU" sz="1013">
                <a:solidFill>
                  <a:srgbClr val="223051"/>
                </a:solidFill>
                <a:latin typeface="Play"/>
              </a:endParaRPr>
            </a:p>
          </p:txBody>
        </p:sp>
        <p:sp>
          <p:nvSpPr>
            <p:cNvPr id="84" name="Овал 83">
              <a:extLst>
                <a:ext uri="{FF2B5EF4-FFF2-40B4-BE49-F238E27FC236}">
                  <a16:creationId xmlns:a16="http://schemas.microsoft.com/office/drawing/2014/main" id="{0B51711F-E857-461C-9CAF-0D6748B2435E}"/>
                </a:ext>
              </a:extLst>
            </p:cNvPr>
            <p:cNvSpPr/>
            <p:nvPr/>
          </p:nvSpPr>
          <p:spPr>
            <a:xfrm>
              <a:off x="6075594" y="3202141"/>
              <a:ext cx="1131366" cy="1131366"/>
            </a:xfrm>
            <a:prstGeom prst="ellipse">
              <a:avLst/>
            </a:prstGeom>
            <a:noFill/>
            <a:ln>
              <a:gradFill flip="none" rotWithShape="1">
                <a:gsLst>
                  <a:gs pos="0">
                    <a:schemeClr val="accent1">
                      <a:alpha val="70000"/>
                    </a:schemeClr>
                  </a:gs>
                  <a:gs pos="100000">
                    <a:schemeClr val="accent4">
                      <a:alpha val="70000"/>
                    </a:schemeClr>
                  </a:gs>
                </a:gsLst>
                <a:lin ang="0" scaled="1"/>
                <a:tileRect/>
              </a:gradFill>
              <a:prstDash val="sysDot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85" name="Группа 84">
            <a:extLst>
              <a:ext uri="{FF2B5EF4-FFF2-40B4-BE49-F238E27FC236}">
                <a16:creationId xmlns:a16="http://schemas.microsoft.com/office/drawing/2014/main" id="{A8309985-E8DA-493D-AA42-E0CB42087E0A}"/>
              </a:ext>
            </a:extLst>
          </p:cNvPr>
          <p:cNvGrpSpPr/>
          <p:nvPr userDrawn="1"/>
        </p:nvGrpSpPr>
        <p:grpSpPr>
          <a:xfrm>
            <a:off x="7880958" y="1331778"/>
            <a:ext cx="1131366" cy="1131366"/>
            <a:chOff x="6075594" y="3202141"/>
            <a:chExt cx="1131366" cy="1131366"/>
          </a:xfrm>
        </p:grpSpPr>
        <p:sp>
          <p:nvSpPr>
            <p:cNvPr id="86" name="Овал 85">
              <a:extLst>
                <a:ext uri="{FF2B5EF4-FFF2-40B4-BE49-F238E27FC236}">
                  <a16:creationId xmlns:a16="http://schemas.microsoft.com/office/drawing/2014/main" id="{F9100D86-305B-4AE6-93C5-003D9AB43E61}"/>
                </a:ext>
              </a:extLst>
            </p:cNvPr>
            <p:cNvSpPr/>
            <p:nvPr/>
          </p:nvSpPr>
          <p:spPr>
            <a:xfrm rot="16200000" flipH="1">
              <a:off x="6168251" y="3294799"/>
              <a:ext cx="946052" cy="946052"/>
            </a:xfrm>
            <a:prstGeom prst="ellipse">
              <a:avLst/>
            </a:prstGeom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lumMod val="50000"/>
                  </a:schemeClr>
                </a:gs>
              </a:gsLst>
              <a:lin ang="2700000" scaled="1"/>
              <a:tileRect/>
            </a:gradFill>
            <a:ln w="38100" cap="flat">
              <a:solidFill>
                <a:schemeClr val="bg1"/>
              </a:solidFill>
              <a:prstDash val="solid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tlCol="0" anchor="ctr"/>
            <a:lstStyle/>
            <a:p>
              <a:pPr algn="ctr" defTabSz="514363">
                <a:defRPr/>
              </a:pPr>
              <a:endParaRPr lang="ru-RU" sz="1013">
                <a:solidFill>
                  <a:srgbClr val="223051"/>
                </a:solidFill>
                <a:latin typeface="Play"/>
              </a:endParaRPr>
            </a:p>
          </p:txBody>
        </p:sp>
        <p:sp>
          <p:nvSpPr>
            <p:cNvPr id="87" name="Овал 86">
              <a:extLst>
                <a:ext uri="{FF2B5EF4-FFF2-40B4-BE49-F238E27FC236}">
                  <a16:creationId xmlns:a16="http://schemas.microsoft.com/office/drawing/2014/main" id="{DAB004F2-6220-4762-AC38-CB70C48C022F}"/>
                </a:ext>
              </a:extLst>
            </p:cNvPr>
            <p:cNvSpPr/>
            <p:nvPr/>
          </p:nvSpPr>
          <p:spPr>
            <a:xfrm>
              <a:off x="6075594" y="3202141"/>
              <a:ext cx="1131366" cy="1131366"/>
            </a:xfrm>
            <a:prstGeom prst="ellipse">
              <a:avLst/>
            </a:prstGeom>
            <a:noFill/>
            <a:ln>
              <a:gradFill flip="none" rotWithShape="1">
                <a:gsLst>
                  <a:gs pos="0">
                    <a:schemeClr val="accent1">
                      <a:alpha val="70000"/>
                    </a:schemeClr>
                  </a:gs>
                  <a:gs pos="100000">
                    <a:schemeClr val="accent4">
                      <a:alpha val="70000"/>
                    </a:schemeClr>
                  </a:gs>
                </a:gsLst>
                <a:lin ang="0" scaled="1"/>
                <a:tileRect/>
              </a:gradFill>
              <a:prstDash val="sysDot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88" name="Группа 87">
            <a:extLst>
              <a:ext uri="{FF2B5EF4-FFF2-40B4-BE49-F238E27FC236}">
                <a16:creationId xmlns:a16="http://schemas.microsoft.com/office/drawing/2014/main" id="{D6E2131C-3CE3-4A03-800B-ECF6E814FA07}"/>
              </a:ext>
            </a:extLst>
          </p:cNvPr>
          <p:cNvGrpSpPr/>
          <p:nvPr userDrawn="1"/>
        </p:nvGrpSpPr>
        <p:grpSpPr>
          <a:xfrm>
            <a:off x="7880958" y="5086359"/>
            <a:ext cx="1131366" cy="1131366"/>
            <a:chOff x="6075594" y="3202141"/>
            <a:chExt cx="1131366" cy="1131366"/>
          </a:xfrm>
        </p:grpSpPr>
        <p:sp>
          <p:nvSpPr>
            <p:cNvPr id="89" name="Овал 88">
              <a:extLst>
                <a:ext uri="{FF2B5EF4-FFF2-40B4-BE49-F238E27FC236}">
                  <a16:creationId xmlns:a16="http://schemas.microsoft.com/office/drawing/2014/main" id="{021BDEF3-4508-4877-B68A-875FA789A85E}"/>
                </a:ext>
              </a:extLst>
            </p:cNvPr>
            <p:cNvSpPr/>
            <p:nvPr/>
          </p:nvSpPr>
          <p:spPr>
            <a:xfrm rot="16200000" flipH="1">
              <a:off x="6168251" y="3294799"/>
              <a:ext cx="946052" cy="946052"/>
            </a:xfrm>
            <a:prstGeom prst="ellipse">
              <a:avLst/>
            </a:prstGeom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lumMod val="50000"/>
                  </a:schemeClr>
                </a:gs>
              </a:gsLst>
              <a:lin ang="2700000" scaled="1"/>
              <a:tileRect/>
            </a:gradFill>
            <a:ln w="38100" cap="flat">
              <a:solidFill>
                <a:schemeClr val="bg1"/>
              </a:solidFill>
              <a:prstDash val="solid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tlCol="0" anchor="ctr"/>
            <a:lstStyle/>
            <a:p>
              <a:pPr algn="ctr" defTabSz="514363">
                <a:defRPr/>
              </a:pPr>
              <a:endParaRPr lang="ru-RU" sz="1013">
                <a:solidFill>
                  <a:srgbClr val="223051"/>
                </a:solidFill>
                <a:latin typeface="Play"/>
              </a:endParaRPr>
            </a:p>
          </p:txBody>
        </p:sp>
        <p:sp>
          <p:nvSpPr>
            <p:cNvPr id="90" name="Овал 89">
              <a:extLst>
                <a:ext uri="{FF2B5EF4-FFF2-40B4-BE49-F238E27FC236}">
                  <a16:creationId xmlns:a16="http://schemas.microsoft.com/office/drawing/2014/main" id="{18E4CC32-ED4E-4631-AD0A-D1D9D9996E24}"/>
                </a:ext>
              </a:extLst>
            </p:cNvPr>
            <p:cNvSpPr/>
            <p:nvPr/>
          </p:nvSpPr>
          <p:spPr>
            <a:xfrm>
              <a:off x="6075594" y="3202141"/>
              <a:ext cx="1131366" cy="1131366"/>
            </a:xfrm>
            <a:prstGeom prst="ellipse">
              <a:avLst/>
            </a:prstGeom>
            <a:noFill/>
            <a:ln>
              <a:gradFill flip="none" rotWithShape="1">
                <a:gsLst>
                  <a:gs pos="0">
                    <a:schemeClr val="accent1">
                      <a:alpha val="70000"/>
                    </a:schemeClr>
                  </a:gs>
                  <a:gs pos="100000">
                    <a:schemeClr val="accent4">
                      <a:alpha val="70000"/>
                    </a:schemeClr>
                  </a:gs>
                </a:gsLst>
                <a:lin ang="0" scaled="1"/>
                <a:tileRect/>
              </a:gradFill>
              <a:prstDash val="sysDot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91" name="Группа 90">
            <a:extLst>
              <a:ext uri="{FF2B5EF4-FFF2-40B4-BE49-F238E27FC236}">
                <a16:creationId xmlns:a16="http://schemas.microsoft.com/office/drawing/2014/main" id="{B9CF0B4C-2F94-4C9E-841B-E435768EE5BC}"/>
              </a:ext>
            </a:extLst>
          </p:cNvPr>
          <p:cNvGrpSpPr/>
          <p:nvPr userDrawn="1"/>
        </p:nvGrpSpPr>
        <p:grpSpPr>
          <a:xfrm>
            <a:off x="7880958" y="3209069"/>
            <a:ext cx="1131366" cy="1131366"/>
            <a:chOff x="6075594" y="3202141"/>
            <a:chExt cx="1131366" cy="1131366"/>
          </a:xfrm>
        </p:grpSpPr>
        <p:sp>
          <p:nvSpPr>
            <p:cNvPr id="92" name="Овал 91">
              <a:extLst>
                <a:ext uri="{FF2B5EF4-FFF2-40B4-BE49-F238E27FC236}">
                  <a16:creationId xmlns:a16="http://schemas.microsoft.com/office/drawing/2014/main" id="{A1DBDB7D-2ABC-42D4-8BFE-218FDD7E9888}"/>
                </a:ext>
              </a:extLst>
            </p:cNvPr>
            <p:cNvSpPr/>
            <p:nvPr/>
          </p:nvSpPr>
          <p:spPr>
            <a:xfrm rot="16200000" flipH="1">
              <a:off x="6168251" y="3294799"/>
              <a:ext cx="946052" cy="946052"/>
            </a:xfrm>
            <a:prstGeom prst="ellipse">
              <a:avLst/>
            </a:prstGeom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lumMod val="50000"/>
                  </a:schemeClr>
                </a:gs>
              </a:gsLst>
              <a:lin ang="2700000" scaled="1"/>
              <a:tileRect/>
            </a:gradFill>
            <a:ln w="38100" cap="flat">
              <a:solidFill>
                <a:schemeClr val="bg1"/>
              </a:solidFill>
              <a:prstDash val="solid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tlCol="0" anchor="ctr"/>
            <a:lstStyle/>
            <a:p>
              <a:pPr algn="ctr" defTabSz="514363">
                <a:defRPr/>
              </a:pPr>
              <a:endParaRPr lang="ru-RU" sz="1013">
                <a:solidFill>
                  <a:srgbClr val="223051"/>
                </a:solidFill>
                <a:latin typeface="Play"/>
              </a:endParaRPr>
            </a:p>
          </p:txBody>
        </p:sp>
        <p:sp>
          <p:nvSpPr>
            <p:cNvPr id="93" name="Овал 92">
              <a:extLst>
                <a:ext uri="{FF2B5EF4-FFF2-40B4-BE49-F238E27FC236}">
                  <a16:creationId xmlns:a16="http://schemas.microsoft.com/office/drawing/2014/main" id="{B73DB216-B97F-4B5D-9707-C2C66ABEC250}"/>
                </a:ext>
              </a:extLst>
            </p:cNvPr>
            <p:cNvSpPr/>
            <p:nvPr/>
          </p:nvSpPr>
          <p:spPr>
            <a:xfrm>
              <a:off x="6075594" y="3202141"/>
              <a:ext cx="1131366" cy="1131366"/>
            </a:xfrm>
            <a:prstGeom prst="ellipse">
              <a:avLst/>
            </a:prstGeom>
            <a:noFill/>
            <a:ln>
              <a:gradFill flip="none" rotWithShape="1">
                <a:gsLst>
                  <a:gs pos="0">
                    <a:schemeClr val="accent1">
                      <a:alpha val="70000"/>
                    </a:schemeClr>
                  </a:gs>
                  <a:gs pos="100000">
                    <a:schemeClr val="accent4">
                      <a:alpha val="70000"/>
                    </a:schemeClr>
                  </a:gs>
                </a:gsLst>
                <a:lin ang="0" scaled="1"/>
                <a:tileRect/>
              </a:gradFill>
              <a:prstDash val="sysDot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94" name="Рисунок 13">
            <a:extLst>
              <a:ext uri="{FF2B5EF4-FFF2-40B4-BE49-F238E27FC236}">
                <a16:creationId xmlns:a16="http://schemas.microsoft.com/office/drawing/2014/main" id="{E791B79F-B02E-451B-917F-F7E64554631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67315" y="1490009"/>
            <a:ext cx="814909" cy="814909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95" name="Рисунок 13">
            <a:extLst>
              <a:ext uri="{FF2B5EF4-FFF2-40B4-BE49-F238E27FC236}">
                <a16:creationId xmlns:a16="http://schemas.microsoft.com/office/drawing/2014/main" id="{6C2AC61C-9155-4028-9355-CBD9F23FE7D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67315" y="3367300"/>
            <a:ext cx="814909" cy="814909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96" name="Рисунок 13">
            <a:extLst>
              <a:ext uri="{FF2B5EF4-FFF2-40B4-BE49-F238E27FC236}">
                <a16:creationId xmlns:a16="http://schemas.microsoft.com/office/drawing/2014/main" id="{B6110899-C7C2-42CA-A239-960D1209AB42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67315" y="5244590"/>
            <a:ext cx="814909" cy="814909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97" name="Рисунок 13">
            <a:extLst>
              <a:ext uri="{FF2B5EF4-FFF2-40B4-BE49-F238E27FC236}">
                <a16:creationId xmlns:a16="http://schemas.microsoft.com/office/drawing/2014/main" id="{844FBDB0-EFD0-4412-895B-27E429D2D7A6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300846" y="1490009"/>
            <a:ext cx="814909" cy="814909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98" name="Рисунок 13">
            <a:extLst>
              <a:ext uri="{FF2B5EF4-FFF2-40B4-BE49-F238E27FC236}">
                <a16:creationId xmlns:a16="http://schemas.microsoft.com/office/drawing/2014/main" id="{35B74EFC-C54B-498B-B91A-1B65939C840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039188" y="1490009"/>
            <a:ext cx="814909" cy="814909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99" name="Рисунок 13">
            <a:extLst>
              <a:ext uri="{FF2B5EF4-FFF2-40B4-BE49-F238E27FC236}">
                <a16:creationId xmlns:a16="http://schemas.microsoft.com/office/drawing/2014/main" id="{C97F030B-7237-4B1E-AC59-451930CFC36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0846" y="3367300"/>
            <a:ext cx="814909" cy="814909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00" name="Рисунок 13">
            <a:extLst>
              <a:ext uri="{FF2B5EF4-FFF2-40B4-BE49-F238E27FC236}">
                <a16:creationId xmlns:a16="http://schemas.microsoft.com/office/drawing/2014/main" id="{9AE7D753-D524-4E9F-B522-7389A8E7735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39188" y="3360370"/>
            <a:ext cx="814909" cy="814909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01" name="Рисунок 13">
            <a:extLst>
              <a:ext uri="{FF2B5EF4-FFF2-40B4-BE49-F238E27FC236}">
                <a16:creationId xmlns:a16="http://schemas.microsoft.com/office/drawing/2014/main" id="{0DB976B9-B6F2-4400-A08E-0524A79AD7D5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300846" y="5244590"/>
            <a:ext cx="814909" cy="814909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02" name="Рисунок 13">
            <a:extLst>
              <a:ext uri="{FF2B5EF4-FFF2-40B4-BE49-F238E27FC236}">
                <a16:creationId xmlns:a16="http://schemas.microsoft.com/office/drawing/2014/main" id="{3A1C151D-DFF9-4DBF-9292-AEF08CD0A5A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039188" y="5244590"/>
            <a:ext cx="814909" cy="814909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18376212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фото люде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10" name="Номер слайда 3">
            <a:extLst>
              <a:ext uri="{FF2B5EF4-FFF2-40B4-BE49-F238E27FC236}">
                <a16:creationId xmlns:a16="http://schemas.microsoft.com/office/drawing/2014/main" id="{2C35DD50-3DF2-4C47-963F-000CFE21E2B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9576" y="6455903"/>
            <a:ext cx="1214424" cy="2308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5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1" name="Рисунок 13">
            <a:extLst>
              <a:ext uri="{FF2B5EF4-FFF2-40B4-BE49-F238E27FC236}">
                <a16:creationId xmlns:a16="http://schemas.microsoft.com/office/drawing/2014/main" id="{D52B4510-A1CC-42EE-B09C-0759EE3ECF30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211145" y="1489325"/>
            <a:ext cx="896400" cy="89640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2" name="Рисунок 13">
            <a:extLst>
              <a:ext uri="{FF2B5EF4-FFF2-40B4-BE49-F238E27FC236}">
                <a16:creationId xmlns:a16="http://schemas.microsoft.com/office/drawing/2014/main" id="{8553449B-AA81-4002-BFC2-849CE638866E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211145" y="3320598"/>
            <a:ext cx="896400" cy="89640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3" name="Рисунок 13">
            <a:extLst>
              <a:ext uri="{FF2B5EF4-FFF2-40B4-BE49-F238E27FC236}">
                <a16:creationId xmlns:a16="http://schemas.microsoft.com/office/drawing/2014/main" id="{249A119C-6FEE-4BEB-A43E-6DD39C2366F9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211145" y="5220230"/>
            <a:ext cx="896400" cy="89640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4" name="Рисунок 13">
            <a:extLst>
              <a:ext uri="{FF2B5EF4-FFF2-40B4-BE49-F238E27FC236}">
                <a16:creationId xmlns:a16="http://schemas.microsoft.com/office/drawing/2014/main" id="{59234B06-0350-4A5C-B591-A68B7C9C03E9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232568" y="1489325"/>
            <a:ext cx="896400" cy="89640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5" name="Рисунок 13">
            <a:extLst>
              <a:ext uri="{FF2B5EF4-FFF2-40B4-BE49-F238E27FC236}">
                <a16:creationId xmlns:a16="http://schemas.microsoft.com/office/drawing/2014/main" id="{419C62D1-466E-4A75-A20F-F4281A82C616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240016" y="3320598"/>
            <a:ext cx="896400" cy="89640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6" name="Рисунок 13">
            <a:extLst>
              <a:ext uri="{FF2B5EF4-FFF2-40B4-BE49-F238E27FC236}">
                <a16:creationId xmlns:a16="http://schemas.microsoft.com/office/drawing/2014/main" id="{84FF0057-290A-4001-9DD8-3012BAD9E07B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240016" y="5216591"/>
            <a:ext cx="896400" cy="89640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70497302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хема фото с людь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9" name="Номер слайда 3">
            <a:extLst>
              <a:ext uri="{FF2B5EF4-FFF2-40B4-BE49-F238E27FC236}">
                <a16:creationId xmlns:a16="http://schemas.microsoft.com/office/drawing/2014/main" id="{095A0BC2-CEE0-4CAF-9B8E-37651F2E600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9576" y="6455903"/>
            <a:ext cx="1214424" cy="2308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5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0" name="Рисунок 13">
            <a:extLst>
              <a:ext uri="{FF2B5EF4-FFF2-40B4-BE49-F238E27FC236}">
                <a16:creationId xmlns:a16="http://schemas.microsoft.com/office/drawing/2014/main" id="{68A87041-9869-4786-8837-88AFBFE952F7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47800" y="1403188"/>
            <a:ext cx="896400" cy="89640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1" name="Рисунок 13">
            <a:extLst>
              <a:ext uri="{FF2B5EF4-FFF2-40B4-BE49-F238E27FC236}">
                <a16:creationId xmlns:a16="http://schemas.microsoft.com/office/drawing/2014/main" id="{554642B5-45F3-4C67-B814-B20780BA40B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801842" y="4133759"/>
            <a:ext cx="896400" cy="89640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2" name="Рисунок 13">
            <a:extLst>
              <a:ext uri="{FF2B5EF4-FFF2-40B4-BE49-F238E27FC236}">
                <a16:creationId xmlns:a16="http://schemas.microsoft.com/office/drawing/2014/main" id="{F0A5985A-4AE2-443D-B641-1D6516AE92EB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389905" y="4133759"/>
            <a:ext cx="896400" cy="89640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3" name="Рисунок 13">
            <a:extLst>
              <a:ext uri="{FF2B5EF4-FFF2-40B4-BE49-F238E27FC236}">
                <a16:creationId xmlns:a16="http://schemas.microsoft.com/office/drawing/2014/main" id="{9B56A0C1-38C8-44E6-94E8-8F151EF45364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977968" y="4133759"/>
            <a:ext cx="896400" cy="89640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4" name="Рисунок 13">
            <a:extLst>
              <a:ext uri="{FF2B5EF4-FFF2-40B4-BE49-F238E27FC236}">
                <a16:creationId xmlns:a16="http://schemas.microsoft.com/office/drawing/2014/main" id="{A3115D26-324B-4C69-B519-1D0A28339B38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9566032" y="4133759"/>
            <a:ext cx="896400" cy="89640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53386898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Стил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Рисунок 21">
            <a:extLst>
              <a:ext uri="{FF2B5EF4-FFF2-40B4-BE49-F238E27FC236}">
                <a16:creationId xmlns:a16="http://schemas.microsoft.com/office/drawing/2014/main" id="{5A35804F-F8C6-49BD-AC66-9B938381E90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103128" y="1197583"/>
            <a:ext cx="2052000" cy="787003"/>
          </a:xfrm>
          <a:prstGeom prst="rect">
            <a:avLst/>
          </a:prstGeom>
        </p:spPr>
      </p:pic>
      <p:pic>
        <p:nvPicPr>
          <p:cNvPr id="23" name="Рисунок 22">
            <a:extLst>
              <a:ext uri="{FF2B5EF4-FFF2-40B4-BE49-F238E27FC236}">
                <a16:creationId xmlns:a16="http://schemas.microsoft.com/office/drawing/2014/main" id="{2D291DDE-49DA-464B-B7DB-BE1C38E2250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5070001" y="1197581"/>
            <a:ext cx="2052000" cy="642156"/>
          </a:xfrm>
          <a:prstGeom prst="rect">
            <a:avLst/>
          </a:prstGeom>
        </p:spPr>
      </p:pic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678B9B5D-3E6A-4D59-8A6E-88663193E046}"/>
              </a:ext>
            </a:extLst>
          </p:cNvPr>
          <p:cNvGrpSpPr/>
          <p:nvPr userDrawn="1"/>
        </p:nvGrpSpPr>
        <p:grpSpPr>
          <a:xfrm>
            <a:off x="9036873" y="1197581"/>
            <a:ext cx="2052001" cy="1606765"/>
            <a:chOff x="8045155" y="1197581"/>
            <a:chExt cx="2052001" cy="1606765"/>
          </a:xfrm>
        </p:grpSpPr>
        <p:pic>
          <p:nvPicPr>
            <p:cNvPr id="24" name="Рисунок 23">
              <a:extLst>
                <a:ext uri="{FF2B5EF4-FFF2-40B4-BE49-F238E27FC236}">
                  <a16:creationId xmlns:a16="http://schemas.microsoft.com/office/drawing/2014/main" id="{80E617B8-79DD-4893-8B43-85D558DCFB1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7"/>
                </a:ext>
              </a:extLst>
            </a:blip>
            <a:stretch>
              <a:fillRect/>
            </a:stretch>
          </p:blipFill>
          <p:spPr>
            <a:xfrm>
              <a:off x="8133391" y="2055301"/>
              <a:ext cx="749045" cy="749045"/>
            </a:xfrm>
            <a:prstGeom prst="rect">
              <a:avLst/>
            </a:prstGeom>
          </p:spPr>
        </p:pic>
        <p:pic>
          <p:nvPicPr>
            <p:cNvPr id="33" name="Рисунок 32">
              <a:extLst>
                <a:ext uri="{FF2B5EF4-FFF2-40B4-BE49-F238E27FC236}">
                  <a16:creationId xmlns:a16="http://schemas.microsoft.com/office/drawing/2014/main" id="{8BAE4F6E-CD6B-4293-8E86-FCFDC69C255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9"/>
                </a:ext>
              </a:extLst>
            </a:blip>
            <a:stretch>
              <a:fillRect/>
            </a:stretch>
          </p:blipFill>
          <p:spPr>
            <a:xfrm>
              <a:off x="9348111" y="2055301"/>
              <a:ext cx="749045" cy="749045"/>
            </a:xfrm>
            <a:prstGeom prst="rect">
              <a:avLst/>
            </a:prstGeom>
          </p:spPr>
        </p:pic>
        <p:pic>
          <p:nvPicPr>
            <p:cNvPr id="34" name="Рисунок 33">
              <a:extLst>
                <a:ext uri="{FF2B5EF4-FFF2-40B4-BE49-F238E27FC236}">
                  <a16:creationId xmlns:a16="http://schemas.microsoft.com/office/drawing/2014/main" id="{F8D73D05-A2AB-4703-BF73-7E6E4A3AF6A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11"/>
                </a:ext>
              </a:extLst>
            </a:blip>
            <a:stretch>
              <a:fillRect/>
            </a:stretch>
          </p:blipFill>
          <p:spPr>
            <a:xfrm>
              <a:off x="8045155" y="1197581"/>
              <a:ext cx="2052000" cy="642156"/>
            </a:xfrm>
            <a:prstGeom prst="rect">
              <a:avLst/>
            </a:prstGeom>
          </p:spPr>
        </p:pic>
      </p:grpSp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id="{3D682A04-46F2-4634-A6BC-09E2B557766A}"/>
              </a:ext>
            </a:extLst>
          </p:cNvPr>
          <p:cNvSpPr/>
          <p:nvPr userDrawn="1"/>
        </p:nvSpPr>
        <p:spPr>
          <a:xfrm>
            <a:off x="5272369" y="3139560"/>
            <a:ext cx="6392583" cy="3022516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3">
                <a:lumMod val="40000"/>
                <a:lumOff val="60000"/>
              </a:schemeClr>
            </a:solidFill>
          </a:ln>
          <a:effectLst>
            <a:outerShdw blurRad="50800" dist="38100" dir="5400000" algn="t" rotWithShape="0">
              <a:prstClr val="black">
                <a:alpha val="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id="{39FBD079-0708-4C90-BFC9-F6C727A79AFE}"/>
              </a:ext>
            </a:extLst>
          </p:cNvPr>
          <p:cNvSpPr/>
          <p:nvPr userDrawn="1"/>
        </p:nvSpPr>
        <p:spPr>
          <a:xfrm>
            <a:off x="527048" y="3139560"/>
            <a:ext cx="4596898" cy="3022516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3">
                <a:lumMod val="40000"/>
                <a:lumOff val="60000"/>
              </a:schemeClr>
            </a:solidFill>
          </a:ln>
          <a:effectLst>
            <a:outerShdw blurRad="50800" dist="38100" dir="5400000" algn="t" rotWithShape="0">
              <a:prstClr val="black">
                <a:alpha val="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grpSp>
        <p:nvGrpSpPr>
          <p:cNvPr id="37" name="Группа 36">
            <a:extLst>
              <a:ext uri="{FF2B5EF4-FFF2-40B4-BE49-F238E27FC236}">
                <a16:creationId xmlns:a16="http://schemas.microsoft.com/office/drawing/2014/main" id="{F79354BA-35A7-4A62-94DB-861A0CCCE27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63737" y="3305142"/>
            <a:ext cx="4113064" cy="2691352"/>
            <a:chOff x="395288" y="3861048"/>
            <a:chExt cx="2207280" cy="1443895"/>
          </a:xfrm>
        </p:grpSpPr>
        <p:grpSp>
          <p:nvGrpSpPr>
            <p:cNvPr id="42" name="Группа 41">
              <a:extLst>
                <a:ext uri="{FF2B5EF4-FFF2-40B4-BE49-F238E27FC236}">
                  <a16:creationId xmlns:a16="http://schemas.microsoft.com/office/drawing/2014/main" id="{16BFCBEF-04B8-4964-92EA-F59EDB63C04D}"/>
                </a:ext>
              </a:extLst>
            </p:cNvPr>
            <p:cNvGrpSpPr/>
            <p:nvPr userDrawn="1"/>
          </p:nvGrpSpPr>
          <p:grpSpPr>
            <a:xfrm>
              <a:off x="395288" y="4653136"/>
              <a:ext cx="2207280" cy="651807"/>
              <a:chOff x="395288" y="5384401"/>
              <a:chExt cx="2207280" cy="651807"/>
            </a:xfrm>
          </p:grpSpPr>
          <p:sp>
            <p:nvSpPr>
              <p:cNvPr id="54" name="Овал 13">
                <a:extLst>
                  <a:ext uri="{FF2B5EF4-FFF2-40B4-BE49-F238E27FC236}">
                    <a16:creationId xmlns:a16="http://schemas.microsoft.com/office/drawing/2014/main" id="{CB51E3C7-9424-437A-A4F4-3B4B83E128B4}"/>
                  </a:ext>
                </a:extLst>
              </p:cNvPr>
              <p:cNvSpPr/>
              <p:nvPr userDrawn="1"/>
            </p:nvSpPr>
            <p:spPr>
              <a:xfrm>
                <a:off x="1173024" y="5384401"/>
                <a:ext cx="651808" cy="651807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>
                  <a:lnSpc>
                    <a:spcPct val="110000"/>
                  </a:lnSpc>
                </a:pPr>
                <a:r>
                  <a:rPr lang="ru-RU" sz="1200" dirty="0"/>
                  <a:t>0</a:t>
                </a:r>
              </a:p>
              <a:p>
                <a:pPr algn="ctr">
                  <a:lnSpc>
                    <a:spcPct val="110000"/>
                  </a:lnSpc>
                </a:pPr>
                <a:r>
                  <a:rPr lang="ru-RU" sz="1200" dirty="0"/>
                  <a:t>168</a:t>
                </a:r>
              </a:p>
              <a:p>
                <a:pPr algn="ctr">
                  <a:lnSpc>
                    <a:spcPct val="110000"/>
                  </a:lnSpc>
                </a:pPr>
                <a:r>
                  <a:rPr lang="ru-RU" sz="1200" dirty="0"/>
                  <a:t>229</a:t>
                </a:r>
              </a:p>
            </p:txBody>
          </p:sp>
          <p:sp>
            <p:nvSpPr>
              <p:cNvPr id="55" name="Овал 13">
                <a:extLst>
                  <a:ext uri="{FF2B5EF4-FFF2-40B4-BE49-F238E27FC236}">
                    <a16:creationId xmlns:a16="http://schemas.microsoft.com/office/drawing/2014/main" id="{532D0B5A-C9FA-4BB3-9ED2-CD0C7EC11734}"/>
                  </a:ext>
                </a:extLst>
              </p:cNvPr>
              <p:cNvSpPr/>
              <p:nvPr userDrawn="1"/>
            </p:nvSpPr>
            <p:spPr>
              <a:xfrm>
                <a:off x="395288" y="5384401"/>
                <a:ext cx="651808" cy="651807"/>
              </a:xfrm>
              <a:prstGeom prst="rect">
                <a:avLst/>
              </a:prstGeom>
              <a:solidFill>
                <a:srgbClr val="42A9B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marL="0" algn="ctr" defTabSz="457200" rtl="0" eaLnBrk="1" latinLnBrk="0" hangingPunct="1">
                  <a:lnSpc>
                    <a:spcPct val="110000"/>
                  </a:lnSpc>
                </a:pPr>
                <a:r>
                  <a:rPr lang="ru-RU" sz="1200" kern="1200" dirty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rPr>
                  <a:t>66</a:t>
                </a:r>
              </a:p>
              <a:p>
                <a:pPr marL="0" algn="ctr" defTabSz="457200" rtl="0" eaLnBrk="1" latinLnBrk="0" hangingPunct="1">
                  <a:lnSpc>
                    <a:spcPct val="110000"/>
                  </a:lnSpc>
                </a:pPr>
                <a:r>
                  <a:rPr lang="ru-RU" sz="1200" kern="1200" dirty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rPr>
                  <a:t>169</a:t>
                </a:r>
              </a:p>
              <a:p>
                <a:pPr marL="0" algn="ctr" defTabSz="457200" rtl="0" eaLnBrk="1" latinLnBrk="0" hangingPunct="1">
                  <a:lnSpc>
                    <a:spcPct val="110000"/>
                  </a:lnSpc>
                </a:pPr>
                <a:r>
                  <a:rPr lang="ru-RU" sz="1200" kern="1200" dirty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rPr>
                  <a:t>185</a:t>
                </a:r>
              </a:p>
            </p:txBody>
          </p:sp>
          <p:sp>
            <p:nvSpPr>
              <p:cNvPr id="56" name="Овал 16">
                <a:extLst>
                  <a:ext uri="{FF2B5EF4-FFF2-40B4-BE49-F238E27FC236}">
                    <a16:creationId xmlns:a16="http://schemas.microsoft.com/office/drawing/2014/main" id="{76BAF6C5-5C6B-4B39-8C7B-463A237DD0A4}"/>
                  </a:ext>
                </a:extLst>
              </p:cNvPr>
              <p:cNvSpPr/>
              <p:nvPr userDrawn="1"/>
            </p:nvSpPr>
            <p:spPr>
              <a:xfrm>
                <a:off x="1950760" y="5384401"/>
                <a:ext cx="651808" cy="65180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>
                  <a:lnSpc>
                    <a:spcPct val="110000"/>
                  </a:lnSpc>
                </a:pPr>
                <a:r>
                  <a:rPr lang="ru-RU" sz="1200" dirty="0"/>
                  <a:t>186</a:t>
                </a:r>
              </a:p>
              <a:p>
                <a:pPr algn="ctr">
                  <a:lnSpc>
                    <a:spcPct val="110000"/>
                  </a:lnSpc>
                </a:pPr>
                <a:r>
                  <a:rPr lang="ru-RU" sz="1200" dirty="0"/>
                  <a:t>192</a:t>
                </a:r>
              </a:p>
              <a:p>
                <a:pPr algn="ctr">
                  <a:lnSpc>
                    <a:spcPct val="110000"/>
                  </a:lnSpc>
                </a:pPr>
                <a:r>
                  <a:rPr lang="ru-RU" sz="1200" dirty="0"/>
                  <a:t>129</a:t>
                </a:r>
              </a:p>
            </p:txBody>
          </p:sp>
        </p:grpSp>
        <p:grpSp>
          <p:nvGrpSpPr>
            <p:cNvPr id="50" name="Группа 49">
              <a:extLst>
                <a:ext uri="{FF2B5EF4-FFF2-40B4-BE49-F238E27FC236}">
                  <a16:creationId xmlns:a16="http://schemas.microsoft.com/office/drawing/2014/main" id="{0400B9A2-6C26-4915-B224-C85E557545C8}"/>
                </a:ext>
              </a:extLst>
            </p:cNvPr>
            <p:cNvGrpSpPr/>
            <p:nvPr userDrawn="1"/>
          </p:nvGrpSpPr>
          <p:grpSpPr>
            <a:xfrm>
              <a:off x="395288" y="3861048"/>
              <a:ext cx="2207280" cy="651807"/>
              <a:chOff x="395288" y="3861048"/>
              <a:chExt cx="2207280" cy="651807"/>
            </a:xfrm>
          </p:grpSpPr>
          <p:sp>
            <p:nvSpPr>
              <p:cNvPr id="51" name="Прямоугольник 50">
                <a:extLst>
                  <a:ext uri="{FF2B5EF4-FFF2-40B4-BE49-F238E27FC236}">
                    <a16:creationId xmlns:a16="http://schemas.microsoft.com/office/drawing/2014/main" id="{514C49EA-31CA-4170-8956-C71F6E83A85A}"/>
                  </a:ext>
                </a:extLst>
              </p:cNvPr>
              <p:cNvSpPr/>
              <p:nvPr userDrawn="1"/>
            </p:nvSpPr>
            <p:spPr>
              <a:xfrm>
                <a:off x="1173024" y="3861048"/>
                <a:ext cx="651808" cy="651807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>
                  <a:lnSpc>
                    <a:spcPct val="110000"/>
                  </a:lnSpc>
                </a:pPr>
                <a:r>
                  <a:rPr lang="ru-RU" sz="1200" dirty="0"/>
                  <a:t>221</a:t>
                </a:r>
              </a:p>
              <a:p>
                <a:pPr algn="ctr">
                  <a:lnSpc>
                    <a:spcPct val="110000"/>
                  </a:lnSpc>
                </a:pPr>
                <a:r>
                  <a:rPr lang="ru-RU" sz="1200" dirty="0"/>
                  <a:t>30</a:t>
                </a:r>
              </a:p>
              <a:p>
                <a:pPr algn="ctr">
                  <a:lnSpc>
                    <a:spcPct val="110000"/>
                  </a:lnSpc>
                </a:pPr>
                <a:r>
                  <a:rPr lang="ru-RU" sz="1200" dirty="0"/>
                  <a:t>37</a:t>
                </a:r>
              </a:p>
            </p:txBody>
          </p:sp>
          <p:sp>
            <p:nvSpPr>
              <p:cNvPr id="52" name="Прямоугольник 51">
                <a:extLst>
                  <a:ext uri="{FF2B5EF4-FFF2-40B4-BE49-F238E27FC236}">
                    <a16:creationId xmlns:a16="http://schemas.microsoft.com/office/drawing/2014/main" id="{1B806004-D4BD-4199-B34E-98689E0D75BA}"/>
                  </a:ext>
                </a:extLst>
              </p:cNvPr>
              <p:cNvSpPr/>
              <p:nvPr userDrawn="1"/>
            </p:nvSpPr>
            <p:spPr>
              <a:xfrm>
                <a:off x="395288" y="3861048"/>
                <a:ext cx="651808" cy="651807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>
                  <a:lnSpc>
                    <a:spcPct val="120000"/>
                  </a:lnSpc>
                </a:pPr>
                <a:r>
                  <a:rPr lang="ru-RU" sz="1200" b="0" dirty="0"/>
                  <a:t>0</a:t>
                </a:r>
              </a:p>
              <a:p>
                <a:pPr algn="ctr">
                  <a:lnSpc>
                    <a:spcPct val="120000"/>
                  </a:lnSpc>
                </a:pPr>
                <a:r>
                  <a:rPr lang="ru-RU" sz="1200" b="0" dirty="0"/>
                  <a:t>93</a:t>
                </a:r>
              </a:p>
              <a:p>
                <a:pPr algn="ctr">
                  <a:lnSpc>
                    <a:spcPct val="120000"/>
                  </a:lnSpc>
                </a:pPr>
                <a:r>
                  <a:rPr lang="ru-RU" sz="1200" b="0" dirty="0"/>
                  <a:t>163</a:t>
                </a:r>
              </a:p>
            </p:txBody>
          </p:sp>
          <p:sp>
            <p:nvSpPr>
              <p:cNvPr id="53" name="Овал 13">
                <a:extLst>
                  <a:ext uri="{FF2B5EF4-FFF2-40B4-BE49-F238E27FC236}">
                    <a16:creationId xmlns:a16="http://schemas.microsoft.com/office/drawing/2014/main" id="{B380A03F-A345-4D30-A773-A4FA42A57DD6}"/>
                  </a:ext>
                </a:extLst>
              </p:cNvPr>
              <p:cNvSpPr/>
              <p:nvPr userDrawn="1"/>
            </p:nvSpPr>
            <p:spPr>
              <a:xfrm>
                <a:off x="1950760" y="3861048"/>
                <a:ext cx="651808" cy="651807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>
                  <a:lnSpc>
                    <a:spcPct val="110000"/>
                  </a:lnSpc>
                </a:pPr>
                <a:r>
                  <a:rPr lang="ru-RU" sz="1200" dirty="0"/>
                  <a:t>153</a:t>
                </a:r>
              </a:p>
              <a:p>
                <a:pPr algn="ctr">
                  <a:lnSpc>
                    <a:spcPct val="110000"/>
                  </a:lnSpc>
                </a:pPr>
                <a:r>
                  <a:rPr lang="ru-RU" sz="1200" dirty="0"/>
                  <a:t>164</a:t>
                </a:r>
              </a:p>
              <a:p>
                <a:pPr algn="ctr">
                  <a:lnSpc>
                    <a:spcPct val="110000"/>
                  </a:lnSpc>
                </a:pPr>
                <a:r>
                  <a:rPr lang="ru-RU" sz="1200" dirty="0"/>
                  <a:t>171</a:t>
                </a:r>
              </a:p>
            </p:txBody>
          </p:sp>
        </p:grpSp>
      </p:grpSp>
      <p:sp>
        <p:nvSpPr>
          <p:cNvPr id="57" name="Прямоугольник 56">
            <a:extLst>
              <a:ext uri="{FF2B5EF4-FFF2-40B4-BE49-F238E27FC236}">
                <a16:creationId xmlns:a16="http://schemas.microsoft.com/office/drawing/2014/main" id="{6392F195-01DE-4536-88E8-2B356DD5A115}"/>
              </a:ext>
            </a:extLst>
          </p:cNvPr>
          <p:cNvSpPr/>
          <p:nvPr userDrawn="1"/>
        </p:nvSpPr>
        <p:spPr bwMode="auto">
          <a:xfrm>
            <a:off x="5447929" y="3305142"/>
            <a:ext cx="6051922" cy="499730"/>
          </a:xfrm>
          <a:prstGeom prst="rect">
            <a:avLst/>
          </a:prstGeom>
          <a:gradFill>
            <a:gsLst>
              <a:gs pos="0">
                <a:schemeClr val="accent5"/>
              </a:gs>
              <a:gs pos="75000">
                <a:srgbClr val="0D0A4C"/>
              </a:gs>
            </a:gsLst>
            <a:lin ang="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381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58" name="Прямоугольник 57">
            <a:extLst>
              <a:ext uri="{FF2B5EF4-FFF2-40B4-BE49-F238E27FC236}">
                <a16:creationId xmlns:a16="http://schemas.microsoft.com/office/drawing/2014/main" id="{C029EFBC-939A-479A-8BCD-3C26E4D3C94C}"/>
              </a:ext>
            </a:extLst>
          </p:cNvPr>
          <p:cNvSpPr/>
          <p:nvPr userDrawn="1"/>
        </p:nvSpPr>
        <p:spPr bwMode="auto">
          <a:xfrm>
            <a:off x="5447929" y="5498212"/>
            <a:ext cx="6051922" cy="499730"/>
          </a:xfrm>
          <a:prstGeom prst="rect">
            <a:avLst/>
          </a:prstGeom>
          <a:gradFill>
            <a:gsLst>
              <a:gs pos="75000">
                <a:schemeClr val="accent2"/>
              </a:gs>
              <a:gs pos="0">
                <a:schemeClr val="accent1"/>
              </a:gs>
            </a:gsLst>
            <a:lin ang="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381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59" name="Прямоугольник 58">
            <a:extLst>
              <a:ext uri="{FF2B5EF4-FFF2-40B4-BE49-F238E27FC236}">
                <a16:creationId xmlns:a16="http://schemas.microsoft.com/office/drawing/2014/main" id="{6E319198-1BBF-492A-B2D2-E239EB79F100}"/>
              </a:ext>
            </a:extLst>
          </p:cNvPr>
          <p:cNvSpPr/>
          <p:nvPr userDrawn="1"/>
        </p:nvSpPr>
        <p:spPr bwMode="auto">
          <a:xfrm>
            <a:off x="5447929" y="4767187"/>
            <a:ext cx="6051922" cy="499730"/>
          </a:xfrm>
          <a:prstGeom prst="rect">
            <a:avLst/>
          </a:prstGeom>
          <a:gradFill>
            <a:gsLst>
              <a:gs pos="75000">
                <a:schemeClr val="accent2"/>
              </a:gs>
              <a:gs pos="0">
                <a:schemeClr val="accent4"/>
              </a:gs>
            </a:gsLst>
            <a:lin ang="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381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60" name="Прямоугольник 59">
            <a:extLst>
              <a:ext uri="{FF2B5EF4-FFF2-40B4-BE49-F238E27FC236}">
                <a16:creationId xmlns:a16="http://schemas.microsoft.com/office/drawing/2014/main" id="{E77B36AC-6830-474E-BC7D-C70EA9CFDB27}"/>
              </a:ext>
            </a:extLst>
          </p:cNvPr>
          <p:cNvSpPr/>
          <p:nvPr userDrawn="1"/>
        </p:nvSpPr>
        <p:spPr bwMode="auto">
          <a:xfrm>
            <a:off x="5447929" y="4036164"/>
            <a:ext cx="6051922" cy="499730"/>
          </a:xfrm>
          <a:prstGeom prst="rect">
            <a:avLst/>
          </a:prstGeom>
          <a:gradFill>
            <a:gsLst>
              <a:gs pos="75000">
                <a:schemeClr val="accent2">
                  <a:lumMod val="50000"/>
                </a:schemeClr>
              </a:gs>
              <a:gs pos="0">
                <a:schemeClr val="accent3"/>
              </a:gs>
            </a:gsLst>
            <a:lin ang="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381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25" name="Номер слайда 3">
            <a:extLst>
              <a:ext uri="{FF2B5EF4-FFF2-40B4-BE49-F238E27FC236}">
                <a16:creationId xmlns:a16="http://schemas.microsoft.com/office/drawing/2014/main" id="{9A93B478-F443-4A3E-BDA1-F940254F5D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9576" y="6455903"/>
            <a:ext cx="1214424" cy="2308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5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5542343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хема с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Рисунок 13">
            <a:extLst>
              <a:ext uri="{FF2B5EF4-FFF2-40B4-BE49-F238E27FC236}">
                <a16:creationId xmlns:a16="http://schemas.microsoft.com/office/drawing/2014/main" id="{B4112C69-B746-4E26-8F8D-69722E384BD0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442068" y="1089026"/>
            <a:ext cx="3311501" cy="1224253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22" name="Рисунок 13">
            <a:extLst>
              <a:ext uri="{FF2B5EF4-FFF2-40B4-BE49-F238E27FC236}">
                <a16:creationId xmlns:a16="http://schemas.microsoft.com/office/drawing/2014/main" id="{051D9604-0DF2-419F-826E-79A3A605296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07988" y="3582594"/>
            <a:ext cx="2728148" cy="1143284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4" name="Рисунок 13">
            <a:extLst>
              <a:ext uri="{FF2B5EF4-FFF2-40B4-BE49-F238E27FC236}">
                <a16:creationId xmlns:a16="http://schemas.microsoft.com/office/drawing/2014/main" id="{7CA21087-3DCA-4D5F-9AC3-EB095758258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284751" y="3582594"/>
            <a:ext cx="2740914" cy="1143284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9" name="Рисунок 13">
            <a:extLst>
              <a:ext uri="{FF2B5EF4-FFF2-40B4-BE49-F238E27FC236}">
                <a16:creationId xmlns:a16="http://schemas.microsoft.com/office/drawing/2014/main" id="{C4DD58FE-21C7-465B-872B-5396B3B7E6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4280" y="3582594"/>
            <a:ext cx="2732958" cy="1143284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20" name="Рисунок 13">
            <a:extLst>
              <a:ext uri="{FF2B5EF4-FFF2-40B4-BE49-F238E27FC236}">
                <a16:creationId xmlns:a16="http://schemas.microsoft.com/office/drawing/2014/main" id="{0D2C9D21-131F-4914-87F5-C535F41F8F12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9055852" y="3582594"/>
            <a:ext cx="2728148" cy="1143284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16465"/>
            <a:ext cx="10080500" cy="297962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9" name="Номер слайда 3">
            <a:extLst>
              <a:ext uri="{FF2B5EF4-FFF2-40B4-BE49-F238E27FC236}">
                <a16:creationId xmlns:a16="http://schemas.microsoft.com/office/drawing/2014/main" id="{9A34A23A-0233-4D3C-AC78-799F88377D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9576" y="6455903"/>
            <a:ext cx="1214424" cy="2308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5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70732905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Стил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Рисунок 21">
            <a:extLst>
              <a:ext uri="{FF2B5EF4-FFF2-40B4-BE49-F238E27FC236}">
                <a16:creationId xmlns:a16="http://schemas.microsoft.com/office/drawing/2014/main" id="{5A35804F-F8C6-49BD-AC66-9B938381E90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103128" y="1197583"/>
            <a:ext cx="2052000" cy="787003"/>
          </a:xfrm>
          <a:prstGeom prst="rect">
            <a:avLst/>
          </a:prstGeom>
        </p:spPr>
      </p:pic>
      <p:pic>
        <p:nvPicPr>
          <p:cNvPr id="23" name="Рисунок 22">
            <a:extLst>
              <a:ext uri="{FF2B5EF4-FFF2-40B4-BE49-F238E27FC236}">
                <a16:creationId xmlns:a16="http://schemas.microsoft.com/office/drawing/2014/main" id="{2D291DDE-49DA-464B-B7DB-BE1C38E2250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5070001" y="1197581"/>
            <a:ext cx="2052000" cy="642156"/>
          </a:xfrm>
          <a:prstGeom prst="rect">
            <a:avLst/>
          </a:prstGeom>
        </p:spPr>
      </p:pic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678B9B5D-3E6A-4D59-8A6E-88663193E046}"/>
              </a:ext>
            </a:extLst>
          </p:cNvPr>
          <p:cNvGrpSpPr/>
          <p:nvPr userDrawn="1"/>
        </p:nvGrpSpPr>
        <p:grpSpPr>
          <a:xfrm>
            <a:off x="9036873" y="1197581"/>
            <a:ext cx="2052001" cy="1606765"/>
            <a:chOff x="8045155" y="1197581"/>
            <a:chExt cx="2052001" cy="1606765"/>
          </a:xfrm>
        </p:grpSpPr>
        <p:pic>
          <p:nvPicPr>
            <p:cNvPr id="24" name="Рисунок 23">
              <a:extLst>
                <a:ext uri="{FF2B5EF4-FFF2-40B4-BE49-F238E27FC236}">
                  <a16:creationId xmlns:a16="http://schemas.microsoft.com/office/drawing/2014/main" id="{80E617B8-79DD-4893-8B43-85D558DCFB1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7"/>
                </a:ext>
              </a:extLst>
            </a:blip>
            <a:stretch>
              <a:fillRect/>
            </a:stretch>
          </p:blipFill>
          <p:spPr>
            <a:xfrm>
              <a:off x="8133391" y="2055301"/>
              <a:ext cx="749045" cy="749045"/>
            </a:xfrm>
            <a:prstGeom prst="rect">
              <a:avLst/>
            </a:prstGeom>
          </p:spPr>
        </p:pic>
        <p:pic>
          <p:nvPicPr>
            <p:cNvPr id="33" name="Рисунок 32">
              <a:extLst>
                <a:ext uri="{FF2B5EF4-FFF2-40B4-BE49-F238E27FC236}">
                  <a16:creationId xmlns:a16="http://schemas.microsoft.com/office/drawing/2014/main" id="{8BAE4F6E-CD6B-4293-8E86-FCFDC69C255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9"/>
                </a:ext>
              </a:extLst>
            </a:blip>
            <a:stretch>
              <a:fillRect/>
            </a:stretch>
          </p:blipFill>
          <p:spPr>
            <a:xfrm>
              <a:off x="9348111" y="2055301"/>
              <a:ext cx="749045" cy="749045"/>
            </a:xfrm>
            <a:prstGeom prst="rect">
              <a:avLst/>
            </a:prstGeom>
          </p:spPr>
        </p:pic>
        <p:pic>
          <p:nvPicPr>
            <p:cNvPr id="34" name="Рисунок 33">
              <a:extLst>
                <a:ext uri="{FF2B5EF4-FFF2-40B4-BE49-F238E27FC236}">
                  <a16:creationId xmlns:a16="http://schemas.microsoft.com/office/drawing/2014/main" id="{F8D73D05-A2AB-4703-BF73-7E6E4A3AF6A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11"/>
                </a:ext>
              </a:extLst>
            </a:blip>
            <a:stretch>
              <a:fillRect/>
            </a:stretch>
          </p:blipFill>
          <p:spPr>
            <a:xfrm>
              <a:off x="8045155" y="1197581"/>
              <a:ext cx="2052000" cy="642156"/>
            </a:xfrm>
            <a:prstGeom prst="rect">
              <a:avLst/>
            </a:prstGeom>
          </p:spPr>
        </p:pic>
      </p:grpSp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id="{3D682A04-46F2-4634-A6BC-09E2B557766A}"/>
              </a:ext>
            </a:extLst>
          </p:cNvPr>
          <p:cNvSpPr/>
          <p:nvPr userDrawn="1"/>
        </p:nvSpPr>
        <p:spPr>
          <a:xfrm>
            <a:off x="5272369" y="3139560"/>
            <a:ext cx="6392583" cy="3022516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3">
                <a:lumMod val="40000"/>
                <a:lumOff val="60000"/>
              </a:schemeClr>
            </a:solidFill>
          </a:ln>
          <a:effectLst>
            <a:outerShdw blurRad="50800" dist="38100" dir="5400000" algn="t" rotWithShape="0">
              <a:prstClr val="black">
                <a:alpha val="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id="{39FBD079-0708-4C90-BFC9-F6C727A79AFE}"/>
              </a:ext>
            </a:extLst>
          </p:cNvPr>
          <p:cNvSpPr/>
          <p:nvPr userDrawn="1"/>
        </p:nvSpPr>
        <p:spPr>
          <a:xfrm>
            <a:off x="527048" y="3139560"/>
            <a:ext cx="4596898" cy="3022516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3">
                <a:lumMod val="40000"/>
                <a:lumOff val="60000"/>
              </a:schemeClr>
            </a:solidFill>
          </a:ln>
          <a:effectLst>
            <a:outerShdw blurRad="50800" dist="38100" dir="5400000" algn="t" rotWithShape="0">
              <a:prstClr val="black">
                <a:alpha val="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grpSp>
        <p:nvGrpSpPr>
          <p:cNvPr id="37" name="Группа 36">
            <a:extLst>
              <a:ext uri="{FF2B5EF4-FFF2-40B4-BE49-F238E27FC236}">
                <a16:creationId xmlns:a16="http://schemas.microsoft.com/office/drawing/2014/main" id="{F79354BA-35A7-4A62-94DB-861A0CCCE27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63737" y="3305142"/>
            <a:ext cx="4113064" cy="2691352"/>
            <a:chOff x="395288" y="3861048"/>
            <a:chExt cx="2207280" cy="1443895"/>
          </a:xfrm>
        </p:grpSpPr>
        <p:grpSp>
          <p:nvGrpSpPr>
            <p:cNvPr id="42" name="Группа 41">
              <a:extLst>
                <a:ext uri="{FF2B5EF4-FFF2-40B4-BE49-F238E27FC236}">
                  <a16:creationId xmlns:a16="http://schemas.microsoft.com/office/drawing/2014/main" id="{16BFCBEF-04B8-4964-92EA-F59EDB63C04D}"/>
                </a:ext>
              </a:extLst>
            </p:cNvPr>
            <p:cNvGrpSpPr/>
            <p:nvPr userDrawn="1"/>
          </p:nvGrpSpPr>
          <p:grpSpPr>
            <a:xfrm>
              <a:off x="395288" y="4653136"/>
              <a:ext cx="2207280" cy="651807"/>
              <a:chOff x="395288" y="5384401"/>
              <a:chExt cx="2207280" cy="651807"/>
            </a:xfrm>
          </p:grpSpPr>
          <p:sp>
            <p:nvSpPr>
              <p:cNvPr id="54" name="Овал 13">
                <a:extLst>
                  <a:ext uri="{FF2B5EF4-FFF2-40B4-BE49-F238E27FC236}">
                    <a16:creationId xmlns:a16="http://schemas.microsoft.com/office/drawing/2014/main" id="{CB51E3C7-9424-437A-A4F4-3B4B83E128B4}"/>
                  </a:ext>
                </a:extLst>
              </p:cNvPr>
              <p:cNvSpPr/>
              <p:nvPr userDrawn="1"/>
            </p:nvSpPr>
            <p:spPr>
              <a:xfrm>
                <a:off x="1173024" y="5384401"/>
                <a:ext cx="651808" cy="651807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>
                  <a:lnSpc>
                    <a:spcPct val="110000"/>
                  </a:lnSpc>
                </a:pPr>
                <a:r>
                  <a:rPr lang="ru-RU" sz="1200" dirty="0"/>
                  <a:t>0</a:t>
                </a:r>
              </a:p>
              <a:p>
                <a:pPr algn="ctr">
                  <a:lnSpc>
                    <a:spcPct val="110000"/>
                  </a:lnSpc>
                </a:pPr>
                <a:r>
                  <a:rPr lang="ru-RU" sz="1200" dirty="0"/>
                  <a:t>168</a:t>
                </a:r>
              </a:p>
              <a:p>
                <a:pPr algn="ctr">
                  <a:lnSpc>
                    <a:spcPct val="110000"/>
                  </a:lnSpc>
                </a:pPr>
                <a:r>
                  <a:rPr lang="ru-RU" sz="1200" dirty="0"/>
                  <a:t>229</a:t>
                </a:r>
              </a:p>
            </p:txBody>
          </p:sp>
          <p:sp>
            <p:nvSpPr>
              <p:cNvPr id="55" name="Овал 13">
                <a:extLst>
                  <a:ext uri="{FF2B5EF4-FFF2-40B4-BE49-F238E27FC236}">
                    <a16:creationId xmlns:a16="http://schemas.microsoft.com/office/drawing/2014/main" id="{532D0B5A-C9FA-4BB3-9ED2-CD0C7EC11734}"/>
                  </a:ext>
                </a:extLst>
              </p:cNvPr>
              <p:cNvSpPr/>
              <p:nvPr userDrawn="1"/>
            </p:nvSpPr>
            <p:spPr>
              <a:xfrm>
                <a:off x="395288" y="5384401"/>
                <a:ext cx="651808" cy="651807"/>
              </a:xfrm>
              <a:prstGeom prst="rect">
                <a:avLst/>
              </a:prstGeom>
              <a:solidFill>
                <a:srgbClr val="42A9B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marL="0" algn="ctr" defTabSz="457200" rtl="0" eaLnBrk="1" latinLnBrk="0" hangingPunct="1">
                  <a:lnSpc>
                    <a:spcPct val="110000"/>
                  </a:lnSpc>
                </a:pPr>
                <a:r>
                  <a:rPr lang="ru-RU" sz="1200" kern="1200" dirty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rPr>
                  <a:t>66</a:t>
                </a:r>
              </a:p>
              <a:p>
                <a:pPr marL="0" algn="ctr" defTabSz="457200" rtl="0" eaLnBrk="1" latinLnBrk="0" hangingPunct="1">
                  <a:lnSpc>
                    <a:spcPct val="110000"/>
                  </a:lnSpc>
                </a:pPr>
                <a:r>
                  <a:rPr lang="ru-RU" sz="1200" kern="1200" dirty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rPr>
                  <a:t>169</a:t>
                </a:r>
              </a:p>
              <a:p>
                <a:pPr marL="0" algn="ctr" defTabSz="457200" rtl="0" eaLnBrk="1" latinLnBrk="0" hangingPunct="1">
                  <a:lnSpc>
                    <a:spcPct val="110000"/>
                  </a:lnSpc>
                </a:pPr>
                <a:r>
                  <a:rPr lang="ru-RU" sz="1200" kern="1200" dirty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rPr>
                  <a:t>185</a:t>
                </a:r>
              </a:p>
            </p:txBody>
          </p:sp>
          <p:sp>
            <p:nvSpPr>
              <p:cNvPr id="56" name="Овал 16">
                <a:extLst>
                  <a:ext uri="{FF2B5EF4-FFF2-40B4-BE49-F238E27FC236}">
                    <a16:creationId xmlns:a16="http://schemas.microsoft.com/office/drawing/2014/main" id="{76BAF6C5-5C6B-4B39-8C7B-463A237DD0A4}"/>
                  </a:ext>
                </a:extLst>
              </p:cNvPr>
              <p:cNvSpPr/>
              <p:nvPr userDrawn="1"/>
            </p:nvSpPr>
            <p:spPr>
              <a:xfrm>
                <a:off x="1950760" y="5384401"/>
                <a:ext cx="651808" cy="65180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>
                  <a:lnSpc>
                    <a:spcPct val="110000"/>
                  </a:lnSpc>
                </a:pPr>
                <a:r>
                  <a:rPr lang="ru-RU" sz="1200" dirty="0"/>
                  <a:t>186</a:t>
                </a:r>
              </a:p>
              <a:p>
                <a:pPr algn="ctr">
                  <a:lnSpc>
                    <a:spcPct val="110000"/>
                  </a:lnSpc>
                </a:pPr>
                <a:r>
                  <a:rPr lang="ru-RU" sz="1200" dirty="0"/>
                  <a:t>192</a:t>
                </a:r>
              </a:p>
              <a:p>
                <a:pPr algn="ctr">
                  <a:lnSpc>
                    <a:spcPct val="110000"/>
                  </a:lnSpc>
                </a:pPr>
                <a:r>
                  <a:rPr lang="ru-RU" sz="1200" dirty="0"/>
                  <a:t>129</a:t>
                </a:r>
              </a:p>
            </p:txBody>
          </p:sp>
        </p:grpSp>
        <p:grpSp>
          <p:nvGrpSpPr>
            <p:cNvPr id="50" name="Группа 49">
              <a:extLst>
                <a:ext uri="{FF2B5EF4-FFF2-40B4-BE49-F238E27FC236}">
                  <a16:creationId xmlns:a16="http://schemas.microsoft.com/office/drawing/2014/main" id="{0400B9A2-6C26-4915-B224-C85E557545C8}"/>
                </a:ext>
              </a:extLst>
            </p:cNvPr>
            <p:cNvGrpSpPr/>
            <p:nvPr userDrawn="1"/>
          </p:nvGrpSpPr>
          <p:grpSpPr>
            <a:xfrm>
              <a:off x="395288" y="3861048"/>
              <a:ext cx="2207280" cy="651807"/>
              <a:chOff x="395288" y="3861048"/>
              <a:chExt cx="2207280" cy="651807"/>
            </a:xfrm>
          </p:grpSpPr>
          <p:sp>
            <p:nvSpPr>
              <p:cNvPr id="51" name="Прямоугольник 50">
                <a:extLst>
                  <a:ext uri="{FF2B5EF4-FFF2-40B4-BE49-F238E27FC236}">
                    <a16:creationId xmlns:a16="http://schemas.microsoft.com/office/drawing/2014/main" id="{514C49EA-31CA-4170-8956-C71F6E83A85A}"/>
                  </a:ext>
                </a:extLst>
              </p:cNvPr>
              <p:cNvSpPr/>
              <p:nvPr userDrawn="1"/>
            </p:nvSpPr>
            <p:spPr>
              <a:xfrm>
                <a:off x="1173024" y="3861048"/>
                <a:ext cx="651808" cy="651807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>
                  <a:lnSpc>
                    <a:spcPct val="110000"/>
                  </a:lnSpc>
                </a:pPr>
                <a:r>
                  <a:rPr lang="ru-RU" sz="1200" dirty="0"/>
                  <a:t>221</a:t>
                </a:r>
              </a:p>
              <a:p>
                <a:pPr algn="ctr">
                  <a:lnSpc>
                    <a:spcPct val="110000"/>
                  </a:lnSpc>
                </a:pPr>
                <a:r>
                  <a:rPr lang="ru-RU" sz="1200" dirty="0"/>
                  <a:t>30</a:t>
                </a:r>
              </a:p>
              <a:p>
                <a:pPr algn="ctr">
                  <a:lnSpc>
                    <a:spcPct val="110000"/>
                  </a:lnSpc>
                </a:pPr>
                <a:r>
                  <a:rPr lang="ru-RU" sz="1200" dirty="0"/>
                  <a:t>37</a:t>
                </a:r>
              </a:p>
            </p:txBody>
          </p:sp>
          <p:sp>
            <p:nvSpPr>
              <p:cNvPr id="52" name="Прямоугольник 51">
                <a:extLst>
                  <a:ext uri="{FF2B5EF4-FFF2-40B4-BE49-F238E27FC236}">
                    <a16:creationId xmlns:a16="http://schemas.microsoft.com/office/drawing/2014/main" id="{1B806004-D4BD-4199-B34E-98689E0D75BA}"/>
                  </a:ext>
                </a:extLst>
              </p:cNvPr>
              <p:cNvSpPr/>
              <p:nvPr userDrawn="1"/>
            </p:nvSpPr>
            <p:spPr>
              <a:xfrm>
                <a:off x="395288" y="3861048"/>
                <a:ext cx="651808" cy="651807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>
                  <a:lnSpc>
                    <a:spcPct val="120000"/>
                  </a:lnSpc>
                </a:pPr>
                <a:r>
                  <a:rPr lang="ru-RU" sz="1200" b="0" dirty="0"/>
                  <a:t>0</a:t>
                </a:r>
              </a:p>
              <a:p>
                <a:pPr algn="ctr">
                  <a:lnSpc>
                    <a:spcPct val="120000"/>
                  </a:lnSpc>
                </a:pPr>
                <a:r>
                  <a:rPr lang="ru-RU" sz="1200" b="0" dirty="0"/>
                  <a:t>93</a:t>
                </a:r>
              </a:p>
              <a:p>
                <a:pPr algn="ctr">
                  <a:lnSpc>
                    <a:spcPct val="120000"/>
                  </a:lnSpc>
                </a:pPr>
                <a:r>
                  <a:rPr lang="ru-RU" sz="1200" b="0" dirty="0"/>
                  <a:t>163</a:t>
                </a:r>
              </a:p>
            </p:txBody>
          </p:sp>
          <p:sp>
            <p:nvSpPr>
              <p:cNvPr id="53" name="Овал 13">
                <a:extLst>
                  <a:ext uri="{FF2B5EF4-FFF2-40B4-BE49-F238E27FC236}">
                    <a16:creationId xmlns:a16="http://schemas.microsoft.com/office/drawing/2014/main" id="{B380A03F-A345-4D30-A773-A4FA42A57DD6}"/>
                  </a:ext>
                </a:extLst>
              </p:cNvPr>
              <p:cNvSpPr/>
              <p:nvPr userDrawn="1"/>
            </p:nvSpPr>
            <p:spPr>
              <a:xfrm>
                <a:off x="1950760" y="3861048"/>
                <a:ext cx="651808" cy="651807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>
                  <a:lnSpc>
                    <a:spcPct val="110000"/>
                  </a:lnSpc>
                </a:pPr>
                <a:r>
                  <a:rPr lang="ru-RU" sz="1200" dirty="0"/>
                  <a:t>153</a:t>
                </a:r>
              </a:p>
              <a:p>
                <a:pPr algn="ctr">
                  <a:lnSpc>
                    <a:spcPct val="110000"/>
                  </a:lnSpc>
                </a:pPr>
                <a:r>
                  <a:rPr lang="ru-RU" sz="1200" dirty="0"/>
                  <a:t>164</a:t>
                </a:r>
              </a:p>
              <a:p>
                <a:pPr algn="ctr">
                  <a:lnSpc>
                    <a:spcPct val="110000"/>
                  </a:lnSpc>
                </a:pPr>
                <a:r>
                  <a:rPr lang="ru-RU" sz="1200" dirty="0"/>
                  <a:t>171</a:t>
                </a:r>
              </a:p>
            </p:txBody>
          </p:sp>
        </p:grpSp>
      </p:grpSp>
      <p:sp>
        <p:nvSpPr>
          <p:cNvPr id="57" name="Прямоугольник 56">
            <a:extLst>
              <a:ext uri="{FF2B5EF4-FFF2-40B4-BE49-F238E27FC236}">
                <a16:creationId xmlns:a16="http://schemas.microsoft.com/office/drawing/2014/main" id="{6392F195-01DE-4536-88E8-2B356DD5A115}"/>
              </a:ext>
            </a:extLst>
          </p:cNvPr>
          <p:cNvSpPr/>
          <p:nvPr userDrawn="1"/>
        </p:nvSpPr>
        <p:spPr bwMode="auto">
          <a:xfrm>
            <a:off x="5447929" y="3305142"/>
            <a:ext cx="6051922" cy="499730"/>
          </a:xfrm>
          <a:prstGeom prst="rect">
            <a:avLst/>
          </a:prstGeom>
          <a:gradFill>
            <a:gsLst>
              <a:gs pos="0">
                <a:schemeClr val="accent5"/>
              </a:gs>
              <a:gs pos="75000">
                <a:srgbClr val="0D0A4C"/>
              </a:gs>
            </a:gsLst>
            <a:lin ang="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381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58" name="Прямоугольник 57">
            <a:extLst>
              <a:ext uri="{FF2B5EF4-FFF2-40B4-BE49-F238E27FC236}">
                <a16:creationId xmlns:a16="http://schemas.microsoft.com/office/drawing/2014/main" id="{C029EFBC-939A-479A-8BCD-3C26E4D3C94C}"/>
              </a:ext>
            </a:extLst>
          </p:cNvPr>
          <p:cNvSpPr/>
          <p:nvPr userDrawn="1"/>
        </p:nvSpPr>
        <p:spPr bwMode="auto">
          <a:xfrm>
            <a:off x="5447929" y="5498212"/>
            <a:ext cx="6051922" cy="499730"/>
          </a:xfrm>
          <a:prstGeom prst="rect">
            <a:avLst/>
          </a:prstGeom>
          <a:gradFill>
            <a:gsLst>
              <a:gs pos="75000">
                <a:schemeClr val="accent2"/>
              </a:gs>
              <a:gs pos="0">
                <a:schemeClr val="accent1"/>
              </a:gs>
            </a:gsLst>
            <a:lin ang="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381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59" name="Прямоугольник 58">
            <a:extLst>
              <a:ext uri="{FF2B5EF4-FFF2-40B4-BE49-F238E27FC236}">
                <a16:creationId xmlns:a16="http://schemas.microsoft.com/office/drawing/2014/main" id="{6E319198-1BBF-492A-B2D2-E239EB79F100}"/>
              </a:ext>
            </a:extLst>
          </p:cNvPr>
          <p:cNvSpPr/>
          <p:nvPr userDrawn="1"/>
        </p:nvSpPr>
        <p:spPr bwMode="auto">
          <a:xfrm>
            <a:off x="5447929" y="4767187"/>
            <a:ext cx="6051922" cy="499730"/>
          </a:xfrm>
          <a:prstGeom prst="rect">
            <a:avLst/>
          </a:prstGeom>
          <a:gradFill>
            <a:gsLst>
              <a:gs pos="75000">
                <a:schemeClr val="accent2"/>
              </a:gs>
              <a:gs pos="0">
                <a:schemeClr val="accent4"/>
              </a:gs>
            </a:gsLst>
            <a:lin ang="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381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60" name="Прямоугольник 59">
            <a:extLst>
              <a:ext uri="{FF2B5EF4-FFF2-40B4-BE49-F238E27FC236}">
                <a16:creationId xmlns:a16="http://schemas.microsoft.com/office/drawing/2014/main" id="{E77B36AC-6830-474E-BC7D-C70EA9CFDB27}"/>
              </a:ext>
            </a:extLst>
          </p:cNvPr>
          <p:cNvSpPr/>
          <p:nvPr userDrawn="1"/>
        </p:nvSpPr>
        <p:spPr bwMode="auto">
          <a:xfrm>
            <a:off x="5447929" y="4036164"/>
            <a:ext cx="6051922" cy="499730"/>
          </a:xfrm>
          <a:prstGeom prst="rect">
            <a:avLst/>
          </a:prstGeom>
          <a:gradFill>
            <a:gsLst>
              <a:gs pos="75000">
                <a:schemeClr val="accent2">
                  <a:lumMod val="50000"/>
                </a:schemeClr>
              </a:gs>
              <a:gs pos="0">
                <a:schemeClr val="accent3"/>
              </a:gs>
            </a:gsLst>
            <a:lin ang="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381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25" name="Номер слайда 3">
            <a:extLst>
              <a:ext uri="{FF2B5EF4-FFF2-40B4-BE49-F238E27FC236}">
                <a16:creationId xmlns:a16="http://schemas.microsoft.com/office/drawing/2014/main" id="{9A93B478-F443-4A3E-BDA1-F940254F5D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9576" y="6455903"/>
            <a:ext cx="1214424" cy="2308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5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3954664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523277932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Карти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4">
            <a:extLst>
              <a:ext uri="{FF2B5EF4-FFF2-40B4-BE49-F238E27FC236}">
                <a16:creationId xmlns:a16="http://schemas.microsoft.com/office/drawing/2014/main" id="{A9E75C1E-59FA-1141-88ED-C9DA5B5C205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ru-RU"/>
          </a:p>
        </p:txBody>
      </p:sp>
      <p:sp>
        <p:nvSpPr>
          <p:cNvPr id="5" name="Номер слайда 3">
            <a:extLst>
              <a:ext uri="{FF2B5EF4-FFF2-40B4-BE49-F238E27FC236}">
                <a16:creationId xmlns:a16="http://schemas.microsoft.com/office/drawing/2014/main" id="{21BAFF8E-D939-4562-A5CF-0F16CA7E97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9576" y="6455903"/>
            <a:ext cx="1214424" cy="2308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50">
                <a:solidFill>
                  <a:schemeClr val="bg1"/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96570452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Карти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Рисунок 25">
            <a:extLst>
              <a:ext uri="{FF2B5EF4-FFF2-40B4-BE49-F238E27FC236}">
                <a16:creationId xmlns:a16="http://schemas.microsoft.com/office/drawing/2014/main" id="{BDB56389-3D3B-F045-A518-140BEFEB8CE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6096000" cy="3429000"/>
          </a:xfrm>
        </p:spPr>
        <p:txBody>
          <a:bodyPr/>
          <a:lstStyle/>
          <a:p>
            <a:endParaRPr lang="ru-RU"/>
          </a:p>
        </p:txBody>
      </p:sp>
      <p:sp>
        <p:nvSpPr>
          <p:cNvPr id="29" name="Рисунок 25">
            <a:extLst>
              <a:ext uri="{FF2B5EF4-FFF2-40B4-BE49-F238E27FC236}">
                <a16:creationId xmlns:a16="http://schemas.microsoft.com/office/drawing/2014/main" id="{5D6A25DC-47DC-674B-915C-0C47DA6CF9E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3429000"/>
            <a:ext cx="6096000" cy="3429000"/>
          </a:xfrm>
        </p:spPr>
        <p:txBody>
          <a:bodyPr/>
          <a:lstStyle/>
          <a:p>
            <a:endParaRPr lang="ru-RU"/>
          </a:p>
        </p:txBody>
      </p:sp>
      <p:sp>
        <p:nvSpPr>
          <p:cNvPr id="5" name="Номер слайда 3">
            <a:extLst>
              <a:ext uri="{FF2B5EF4-FFF2-40B4-BE49-F238E27FC236}">
                <a16:creationId xmlns:a16="http://schemas.microsoft.com/office/drawing/2014/main" id="{4D9378C8-65DF-4334-9AEF-459D6322F65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9576" y="6455903"/>
            <a:ext cx="1214424" cy="2308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5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11201608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Карти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Рисунок 36">
            <a:extLst>
              <a:ext uri="{FF2B5EF4-FFF2-40B4-BE49-F238E27FC236}">
                <a16:creationId xmlns:a16="http://schemas.microsoft.com/office/drawing/2014/main" id="{576C4389-9572-2141-857B-F6E51661101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98240" y="-2840"/>
            <a:ext cx="2493760" cy="6858000"/>
          </a:xfrm>
          <a:custGeom>
            <a:avLst/>
            <a:gdLst>
              <a:gd name="connsiteX0" fmla="*/ 738107 w 1870320"/>
              <a:gd name="connsiteY0" fmla="*/ 0 h 6858000"/>
              <a:gd name="connsiteX1" fmla="*/ 1870320 w 1870320"/>
              <a:gd name="connsiteY1" fmla="*/ 0 h 6858000"/>
              <a:gd name="connsiteX2" fmla="*/ 1870320 w 1870320"/>
              <a:gd name="connsiteY2" fmla="*/ 6858000 h 6858000"/>
              <a:gd name="connsiteX3" fmla="*/ 0 w 187032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70320" h="6858000">
                <a:moveTo>
                  <a:pt x="738107" y="0"/>
                </a:moveTo>
                <a:lnTo>
                  <a:pt x="1870320" y="0"/>
                </a:lnTo>
                <a:lnTo>
                  <a:pt x="1870320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34" name="Рисунок 33">
            <a:extLst>
              <a:ext uri="{FF2B5EF4-FFF2-40B4-BE49-F238E27FC236}">
                <a16:creationId xmlns:a16="http://schemas.microsoft.com/office/drawing/2014/main" id="{46486847-6205-8949-9237-430607F06B8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775327" y="-2839"/>
            <a:ext cx="3936520" cy="6857665"/>
          </a:xfrm>
          <a:custGeom>
            <a:avLst/>
            <a:gdLst>
              <a:gd name="connsiteX0" fmla="*/ 738071 w 2952390"/>
              <a:gd name="connsiteY0" fmla="*/ 0 h 6857665"/>
              <a:gd name="connsiteX1" fmla="*/ 2952390 w 2952390"/>
              <a:gd name="connsiteY1" fmla="*/ 0 h 6857665"/>
              <a:gd name="connsiteX2" fmla="*/ 2214320 w 2952390"/>
              <a:gd name="connsiteY2" fmla="*/ 6857665 h 6857665"/>
              <a:gd name="connsiteX3" fmla="*/ 0 w 2952390"/>
              <a:gd name="connsiteY3" fmla="*/ 6857665 h 68576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52390" h="6857665">
                <a:moveTo>
                  <a:pt x="738071" y="0"/>
                </a:moveTo>
                <a:lnTo>
                  <a:pt x="2952390" y="0"/>
                </a:lnTo>
                <a:lnTo>
                  <a:pt x="2214320" y="6857665"/>
                </a:lnTo>
                <a:lnTo>
                  <a:pt x="0" y="6857665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31" name="Рисунок 30">
            <a:extLst>
              <a:ext uri="{FF2B5EF4-FFF2-40B4-BE49-F238E27FC236}">
                <a16:creationId xmlns:a16="http://schemas.microsoft.com/office/drawing/2014/main" id="{C8F9B1D8-C99C-BB48-9570-ADC5F1E84F2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852367" y="-2839"/>
            <a:ext cx="3936520" cy="6857665"/>
          </a:xfrm>
          <a:custGeom>
            <a:avLst/>
            <a:gdLst>
              <a:gd name="connsiteX0" fmla="*/ 738071 w 2952390"/>
              <a:gd name="connsiteY0" fmla="*/ 0 h 6857665"/>
              <a:gd name="connsiteX1" fmla="*/ 2952390 w 2952390"/>
              <a:gd name="connsiteY1" fmla="*/ 0 h 6857665"/>
              <a:gd name="connsiteX2" fmla="*/ 2214320 w 2952390"/>
              <a:gd name="connsiteY2" fmla="*/ 6857665 h 6857665"/>
              <a:gd name="connsiteX3" fmla="*/ 0 w 2952390"/>
              <a:gd name="connsiteY3" fmla="*/ 6857665 h 68576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52390" h="6857665">
                <a:moveTo>
                  <a:pt x="738071" y="0"/>
                </a:moveTo>
                <a:lnTo>
                  <a:pt x="2952390" y="0"/>
                </a:lnTo>
                <a:lnTo>
                  <a:pt x="2214320" y="6857665"/>
                </a:lnTo>
                <a:lnTo>
                  <a:pt x="0" y="6857665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28" name="Рисунок 27">
            <a:extLst>
              <a:ext uri="{FF2B5EF4-FFF2-40B4-BE49-F238E27FC236}">
                <a16:creationId xmlns:a16="http://schemas.microsoft.com/office/drawing/2014/main" id="{B9458EA9-A22B-3A40-951B-623A62B6868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929407" y="-2839"/>
            <a:ext cx="3936520" cy="6857665"/>
          </a:xfrm>
          <a:custGeom>
            <a:avLst/>
            <a:gdLst>
              <a:gd name="connsiteX0" fmla="*/ 738071 w 2952390"/>
              <a:gd name="connsiteY0" fmla="*/ 0 h 6857665"/>
              <a:gd name="connsiteX1" fmla="*/ 2952390 w 2952390"/>
              <a:gd name="connsiteY1" fmla="*/ 0 h 6857665"/>
              <a:gd name="connsiteX2" fmla="*/ 2214320 w 2952390"/>
              <a:gd name="connsiteY2" fmla="*/ 6857665 h 6857665"/>
              <a:gd name="connsiteX3" fmla="*/ 0 w 2952390"/>
              <a:gd name="connsiteY3" fmla="*/ 6857665 h 68576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52390" h="6857665">
                <a:moveTo>
                  <a:pt x="738071" y="0"/>
                </a:moveTo>
                <a:lnTo>
                  <a:pt x="2952390" y="0"/>
                </a:lnTo>
                <a:lnTo>
                  <a:pt x="2214320" y="6857665"/>
                </a:lnTo>
                <a:lnTo>
                  <a:pt x="0" y="6857665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25" name="Рисунок 24">
            <a:extLst>
              <a:ext uri="{FF2B5EF4-FFF2-40B4-BE49-F238E27FC236}">
                <a16:creationId xmlns:a16="http://schemas.microsoft.com/office/drawing/2014/main" id="{07EFC6AC-0D81-B74F-B074-59E31AEFAD8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1942560" cy="6855160"/>
          </a:xfrm>
          <a:custGeom>
            <a:avLst/>
            <a:gdLst>
              <a:gd name="connsiteX0" fmla="*/ 0 w 1456920"/>
              <a:gd name="connsiteY0" fmla="*/ 0 h 6855160"/>
              <a:gd name="connsiteX1" fmla="*/ 1456920 w 1456920"/>
              <a:gd name="connsiteY1" fmla="*/ 0 h 6855160"/>
              <a:gd name="connsiteX2" fmla="*/ 719119 w 1456920"/>
              <a:gd name="connsiteY2" fmla="*/ 6855160 h 6855160"/>
              <a:gd name="connsiteX3" fmla="*/ 0 w 1456920"/>
              <a:gd name="connsiteY3" fmla="*/ 6855160 h 68551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56920" h="6855160">
                <a:moveTo>
                  <a:pt x="0" y="0"/>
                </a:moveTo>
                <a:lnTo>
                  <a:pt x="1456920" y="0"/>
                </a:lnTo>
                <a:lnTo>
                  <a:pt x="719119" y="6855160"/>
                </a:lnTo>
                <a:lnTo>
                  <a:pt x="0" y="685516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7607998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Картинка +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4">
            <a:extLst>
              <a:ext uri="{FF2B5EF4-FFF2-40B4-BE49-F238E27FC236}">
                <a16:creationId xmlns:a16="http://schemas.microsoft.com/office/drawing/2014/main" id="{A9E75C1E-59FA-1141-88ED-C9DA5B5C205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F90BEC28-D1A7-CC4D-8D6B-8EE7CFB49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368" y="416465"/>
            <a:ext cx="9218833" cy="29796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7" name="Freeform 6">
            <a:extLst>
              <a:ext uri="{FF2B5EF4-FFF2-40B4-BE49-F238E27FC236}">
                <a16:creationId xmlns:a16="http://schemas.microsoft.com/office/drawing/2014/main" id="{09C11A44-CB9F-8342-A557-6C2F8D6B2F79}"/>
              </a:ext>
            </a:extLst>
          </p:cNvPr>
          <p:cNvSpPr/>
          <p:nvPr userDrawn="1"/>
        </p:nvSpPr>
        <p:spPr>
          <a:xfrm>
            <a:off x="407369" y="843999"/>
            <a:ext cx="11376000" cy="10800"/>
          </a:xfrm>
          <a:custGeom>
            <a:avLst/>
            <a:gdLst>
              <a:gd name="connsiteX0" fmla="*/ 5615704 w 8353425"/>
              <a:gd name="connsiteY0" fmla="*/ 0 h 10800"/>
              <a:gd name="connsiteX1" fmla="*/ 8353425 w 8353425"/>
              <a:gd name="connsiteY1" fmla="*/ 0 h 10800"/>
              <a:gd name="connsiteX2" fmla="*/ 8353425 w 8353425"/>
              <a:gd name="connsiteY2" fmla="*/ 10800 h 10800"/>
              <a:gd name="connsiteX3" fmla="*/ 5609468 w 8353425"/>
              <a:gd name="connsiteY3" fmla="*/ 10800 h 10800"/>
              <a:gd name="connsiteX4" fmla="*/ 2818125 w 8353425"/>
              <a:gd name="connsiteY4" fmla="*/ 0 h 10800"/>
              <a:gd name="connsiteX5" fmla="*/ 5562912 w 8353425"/>
              <a:gd name="connsiteY5" fmla="*/ 0 h 10800"/>
              <a:gd name="connsiteX6" fmla="*/ 5556676 w 8353425"/>
              <a:gd name="connsiteY6" fmla="*/ 10800 h 10800"/>
              <a:gd name="connsiteX7" fmla="*/ 2811889 w 8353425"/>
              <a:gd name="connsiteY7" fmla="*/ 10800 h 10800"/>
              <a:gd name="connsiteX8" fmla="*/ 0 w 8353425"/>
              <a:gd name="connsiteY8" fmla="*/ 0 h 10800"/>
              <a:gd name="connsiteX9" fmla="*/ 2765333 w 8353425"/>
              <a:gd name="connsiteY9" fmla="*/ 0 h 10800"/>
              <a:gd name="connsiteX10" fmla="*/ 2759098 w 8353425"/>
              <a:gd name="connsiteY10" fmla="*/ 10800 h 10800"/>
              <a:gd name="connsiteX11" fmla="*/ 0 w 8353425"/>
              <a:gd name="connsiteY11" fmla="*/ 10800 h 1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8353425" h="10800">
                <a:moveTo>
                  <a:pt x="5615704" y="0"/>
                </a:moveTo>
                <a:lnTo>
                  <a:pt x="8353425" y="0"/>
                </a:lnTo>
                <a:lnTo>
                  <a:pt x="8353425" y="10800"/>
                </a:lnTo>
                <a:lnTo>
                  <a:pt x="5609468" y="10800"/>
                </a:lnTo>
                <a:close/>
                <a:moveTo>
                  <a:pt x="2818125" y="0"/>
                </a:moveTo>
                <a:lnTo>
                  <a:pt x="5562912" y="0"/>
                </a:lnTo>
                <a:lnTo>
                  <a:pt x="5556676" y="10800"/>
                </a:lnTo>
                <a:lnTo>
                  <a:pt x="2811889" y="10800"/>
                </a:lnTo>
                <a:close/>
                <a:moveTo>
                  <a:pt x="0" y="0"/>
                </a:moveTo>
                <a:lnTo>
                  <a:pt x="2765333" y="0"/>
                </a:lnTo>
                <a:lnTo>
                  <a:pt x="2759098" y="10800"/>
                </a:lnTo>
                <a:lnTo>
                  <a:pt x="0" y="10800"/>
                </a:lnTo>
                <a:close/>
              </a:path>
            </a:pathLst>
          </a:custGeom>
          <a:solidFill>
            <a:schemeClr val="bg1">
              <a:alpha val="40000"/>
            </a:scheme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indent="0" algn="ctr" defTabSz="895350"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</a:pPr>
            <a:endParaRPr lang="ru-RU" sz="1200" dirty="0" err="1">
              <a:solidFill>
                <a:schemeClr val="bg1"/>
              </a:solidFill>
            </a:endParaRPr>
          </a:p>
        </p:txBody>
      </p:sp>
      <p:sp>
        <p:nvSpPr>
          <p:cNvPr id="9" name="Номер слайда 3">
            <a:extLst>
              <a:ext uri="{FF2B5EF4-FFF2-40B4-BE49-F238E27FC236}">
                <a16:creationId xmlns:a16="http://schemas.microsoft.com/office/drawing/2014/main" id="{C6599434-9EF1-4070-BC62-2CB8AEFDF2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9576" y="6455903"/>
            <a:ext cx="1214424" cy="2308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5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9028879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44">
          <p15:clr>
            <a:srgbClr val="FBAE40"/>
          </p15:clr>
        </p15:guide>
        <p15:guide id="2" pos="7136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11" Type="http://schemas.openxmlformats.org/officeDocument/2006/relationships/image" Target="../media/image2.svg"/><Relationship Id="rId5" Type="http://schemas.openxmlformats.org/officeDocument/2006/relationships/theme" Target="../theme/theme1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22.xml"/><Relationship Id="rId26" Type="http://schemas.openxmlformats.org/officeDocument/2006/relationships/image" Target="NULL"/><Relationship Id="rId3" Type="http://schemas.openxmlformats.org/officeDocument/2006/relationships/slideLayout" Target="../slideLayouts/slideLayout7.xml"/><Relationship Id="rId21" Type="http://schemas.openxmlformats.org/officeDocument/2006/relationships/vmlDrawing" Target="../drawings/vmlDrawing2.vml"/><Relationship Id="rId7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21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6.xml"/><Relationship Id="rId16" Type="http://schemas.openxmlformats.org/officeDocument/2006/relationships/slideLayout" Target="../slideLayouts/slideLayout20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9.xml"/><Relationship Id="rId15" Type="http://schemas.openxmlformats.org/officeDocument/2006/relationships/slideLayout" Target="../slideLayouts/slideLayout19.xml"/><Relationship Id="rId23" Type="http://schemas.openxmlformats.org/officeDocument/2006/relationships/oleObject" Target="../embeddings/oleObject2.bin"/><Relationship Id="rId10" Type="http://schemas.openxmlformats.org/officeDocument/2006/relationships/slideLayout" Target="../slideLayouts/slideLayout14.xml"/><Relationship Id="rId19" Type="http://schemas.openxmlformats.org/officeDocument/2006/relationships/slideLayout" Target="../slideLayouts/slideLayout23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8.xml"/><Relationship Id="rId22" Type="http://schemas.openxmlformats.org/officeDocument/2006/relationships/tags" Target="../tags/tag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18" Type="http://schemas.openxmlformats.org/officeDocument/2006/relationships/slideLayout" Target="../slideLayouts/slideLayout41.xml"/><Relationship Id="rId3" Type="http://schemas.openxmlformats.org/officeDocument/2006/relationships/slideLayout" Target="../slideLayouts/slideLayout26.xml"/><Relationship Id="rId21" Type="http://schemas.openxmlformats.org/officeDocument/2006/relationships/tags" Target="../tags/tag5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slideLayout" Target="../slideLayouts/slideLayout40.xml"/><Relationship Id="rId25" Type="http://schemas.openxmlformats.org/officeDocument/2006/relationships/image" Target="../media/image21.svg"/><Relationship Id="rId2" Type="http://schemas.openxmlformats.org/officeDocument/2006/relationships/slideLayout" Target="../slideLayouts/slideLayout25.xml"/><Relationship Id="rId16" Type="http://schemas.openxmlformats.org/officeDocument/2006/relationships/slideLayout" Target="../slideLayouts/slideLayout39.xml"/><Relationship Id="rId20" Type="http://schemas.openxmlformats.org/officeDocument/2006/relationships/vmlDrawing" Target="../drawings/vmlDrawing4.v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8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33.xml"/><Relationship Id="rId19" Type="http://schemas.openxmlformats.org/officeDocument/2006/relationships/theme" Target="../theme/theme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Relationship Id="rId22" Type="http://schemas.openxmlformats.org/officeDocument/2006/relationships/oleObject" Target="../embeddings/oleObject4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0798850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32" name="Слайд think-cell" r:id="rId8" imgW="395" imgH="396" progId="TCLayout.ActiveDocument.1">
                  <p:embed/>
                </p:oleObj>
              </mc:Choice>
              <mc:Fallback>
                <p:oleObj name="Слайд think-cell" r:id="rId8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3">
            <a:extLst>
              <a:ext uri="{FF2B5EF4-FFF2-40B4-BE49-F238E27FC236}">
                <a16:creationId xmlns:a16="http://schemas.microsoft.com/office/drawing/2014/main" id="{B01F387C-39A2-4383-9067-930B5BAB918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9576" y="6455903"/>
            <a:ext cx="1214424" cy="2308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5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8" name="Title Placeholder 7">
            <a:extLst>
              <a:ext uri="{FF2B5EF4-FFF2-40B4-BE49-F238E27FC236}">
                <a16:creationId xmlns:a16="http://schemas.microsoft.com/office/drawing/2014/main" id="{2E633E08-A2F7-2240-B1AF-8CE9750E3D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16465"/>
            <a:ext cx="10080500" cy="297962"/>
          </a:xfrm>
          <a:prstGeom prst="rect">
            <a:avLst/>
          </a:prstGeom>
        </p:spPr>
        <p:txBody>
          <a:bodyPr vert="horz" wrap="square" lIns="0" tIns="36000" rIns="0" bIns="0" rtlCol="0" anchor="b">
            <a:spAutoFit/>
          </a:bodyPr>
          <a:lstStyle/>
          <a:p>
            <a:endParaRPr lang="ru-RU" dirty="0"/>
          </a:p>
        </p:txBody>
      </p:sp>
      <p:sp>
        <p:nvSpPr>
          <p:cNvPr id="20" name="Прямоугольник 66">
            <a:extLst>
              <a:ext uri="{FF2B5EF4-FFF2-40B4-BE49-F238E27FC236}">
                <a16:creationId xmlns:a16="http://schemas.microsoft.com/office/drawing/2014/main" id="{A76AE22A-5B69-234B-BB91-7A091D162553}"/>
              </a:ext>
            </a:extLst>
          </p:cNvPr>
          <p:cNvSpPr/>
          <p:nvPr userDrawn="1"/>
        </p:nvSpPr>
        <p:spPr>
          <a:xfrm>
            <a:off x="3" y="6831000"/>
            <a:ext cx="12191999" cy="27000"/>
          </a:xfrm>
          <a:prstGeom prst="rect">
            <a:avLst/>
          </a:prstGeom>
          <a:gradFill>
            <a:gsLst>
              <a:gs pos="0">
                <a:schemeClr val="accent2"/>
              </a:gs>
              <a:gs pos="86000">
                <a:schemeClr val="accent2">
                  <a:lumMod val="75000"/>
                </a:schemeClr>
              </a:gs>
            </a:gsLst>
            <a:lin ang="4200000" scaled="0"/>
          </a:gradFill>
          <a:ln w="9525">
            <a:noFill/>
            <a:miter lim="800000"/>
            <a:headEnd/>
            <a:tailEnd/>
          </a:ln>
          <a:effectLst/>
        </p:spPr>
        <p:txBody>
          <a:bodyPr vert="horz" wrap="square" lIns="14400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895350">
              <a:spcAft>
                <a:spcPts val="600"/>
              </a:spcAft>
              <a:buClr>
                <a:schemeClr val="accent1"/>
              </a:buClr>
            </a:pPr>
            <a:endParaRPr lang="ru-RU" sz="1600">
              <a:solidFill>
                <a:schemeClr val="bg1"/>
              </a:solidFill>
            </a:endParaRPr>
          </a:p>
        </p:txBody>
      </p:sp>
      <p:sp>
        <p:nvSpPr>
          <p:cNvPr id="2" name="Текст 1">
            <a:extLst>
              <a:ext uri="{FF2B5EF4-FFF2-40B4-BE49-F238E27FC236}">
                <a16:creationId xmlns:a16="http://schemas.microsoft.com/office/drawing/2014/main" id="{4467EA0F-216A-4484-99FF-CCA159F1425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7994" y="1089028"/>
            <a:ext cx="11376012" cy="521969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grpSp>
        <p:nvGrpSpPr>
          <p:cNvPr id="25" name="Group 13">
            <a:extLst>
              <a:ext uri="{FF2B5EF4-FFF2-40B4-BE49-F238E27FC236}">
                <a16:creationId xmlns:a16="http://schemas.microsoft.com/office/drawing/2014/main" id="{C1237F2C-6BEC-44EA-BC90-2B0B605EAF8D}"/>
              </a:ext>
            </a:extLst>
          </p:cNvPr>
          <p:cNvGrpSpPr/>
          <p:nvPr userDrawn="1"/>
        </p:nvGrpSpPr>
        <p:grpSpPr>
          <a:xfrm>
            <a:off x="408000" y="849399"/>
            <a:ext cx="11376000" cy="0"/>
            <a:chOff x="395288" y="1060807"/>
            <a:chExt cx="8353425" cy="0"/>
          </a:xfrm>
        </p:grpSpPr>
        <p:cxnSp>
          <p:nvCxnSpPr>
            <p:cNvPr id="26" name="Прямая соединительная линия 9">
              <a:extLst>
                <a:ext uri="{FF2B5EF4-FFF2-40B4-BE49-F238E27FC236}">
                  <a16:creationId xmlns:a16="http://schemas.microsoft.com/office/drawing/2014/main" id="{2685F1ED-39F8-4BC6-B211-0C64BEC7DC10}"/>
                </a:ext>
              </a:extLst>
            </p:cNvPr>
            <p:cNvCxnSpPr>
              <a:cxnSpLocks/>
            </p:cNvCxnSpPr>
            <p:nvPr userDrawn="1"/>
          </p:nvCxnSpPr>
          <p:spPr bwMode="auto">
            <a:xfrm>
              <a:off x="395288" y="1060807"/>
              <a:ext cx="2786400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gradFill>
                <a:gsLst>
                  <a:gs pos="0">
                    <a:schemeClr val="accent1"/>
                  </a:gs>
                  <a:gs pos="100000">
                    <a:schemeClr val="accent1">
                      <a:lumMod val="75000"/>
                    </a:schemeClr>
                  </a:gs>
                </a:gsLst>
                <a:lin ang="0" scaled="0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7" name="Прямая соединительная линия 9">
              <a:extLst>
                <a:ext uri="{FF2B5EF4-FFF2-40B4-BE49-F238E27FC236}">
                  <a16:creationId xmlns:a16="http://schemas.microsoft.com/office/drawing/2014/main" id="{F464F77E-9135-499C-94BF-D613AA1F7FB7}"/>
                </a:ext>
              </a:extLst>
            </p:cNvPr>
            <p:cNvCxnSpPr>
              <a:cxnSpLocks/>
            </p:cNvCxnSpPr>
            <p:nvPr userDrawn="1"/>
          </p:nvCxnSpPr>
          <p:spPr bwMode="auto">
            <a:xfrm>
              <a:off x="3178800" y="1060807"/>
              <a:ext cx="2786400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gradFill>
                <a:gsLst>
                  <a:gs pos="0">
                    <a:schemeClr val="accent2"/>
                  </a:gs>
                  <a:gs pos="100000">
                    <a:schemeClr val="accent2">
                      <a:lumMod val="75000"/>
                    </a:schemeClr>
                  </a:gs>
                </a:gsLst>
                <a:lin ang="0" scaled="0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8" name="Прямая соединительная линия 9">
              <a:extLst>
                <a:ext uri="{FF2B5EF4-FFF2-40B4-BE49-F238E27FC236}">
                  <a16:creationId xmlns:a16="http://schemas.microsoft.com/office/drawing/2014/main" id="{F1ECDFBF-C7A0-408C-84DD-BF2096405387}"/>
                </a:ext>
              </a:extLst>
            </p:cNvPr>
            <p:cNvCxnSpPr>
              <a:cxnSpLocks/>
            </p:cNvCxnSpPr>
            <p:nvPr userDrawn="1"/>
          </p:nvCxnSpPr>
          <p:spPr bwMode="auto">
            <a:xfrm>
              <a:off x="5962313" y="1060807"/>
              <a:ext cx="2786400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gradFill>
                <a:gsLst>
                  <a:gs pos="100000">
                    <a:schemeClr val="accent3"/>
                  </a:gs>
                  <a:gs pos="0">
                    <a:schemeClr val="accent3">
                      <a:lumMod val="60000"/>
                      <a:lumOff val="40000"/>
                    </a:schemeClr>
                  </a:gs>
                </a:gsLst>
                <a:lin ang="0" scaled="0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30" name="TextBox 29">
            <a:extLst>
              <a:ext uri="{FF2B5EF4-FFF2-40B4-BE49-F238E27FC236}">
                <a16:creationId xmlns:a16="http://schemas.microsoft.com/office/drawing/2014/main" id="{C70892B7-CD7A-4D50-A1E9-C654EDDD4643}"/>
              </a:ext>
            </a:extLst>
          </p:cNvPr>
          <p:cNvSpPr txBox="1"/>
          <p:nvPr userDrawn="1"/>
        </p:nvSpPr>
        <p:spPr>
          <a:xfrm>
            <a:off x="407989" y="6494391"/>
            <a:ext cx="9260946" cy="15388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indent="0" defTabSz="883649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6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18056" indent="-275499" defTabSz="883649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04928" indent="-221279" defTabSz="883649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&gt;"/>
              <a:defRPr sz="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547485" indent="-221279" defTabSz="883649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990042" indent="-221279" defTabSz="883649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6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412083" indent="-221279" defTabSz="883649" fontAlgn="base">
              <a:spcBef>
                <a:spcPct val="20000"/>
              </a:spcBef>
              <a:spcAft>
                <a:spcPct val="0"/>
              </a:spcAft>
              <a:buChar char="•"/>
              <a:defRPr sz="1108">
                <a:solidFill>
                  <a:schemeClr val="bg2"/>
                </a:solidFill>
                <a:latin typeface="FS Severstal" pitchFamily="2" charset="0"/>
              </a:defRPr>
            </a:lvl6pPr>
            <a:lvl7pPr marL="2834125" indent="-221279" defTabSz="883649" fontAlgn="base">
              <a:spcBef>
                <a:spcPct val="20000"/>
              </a:spcBef>
              <a:spcAft>
                <a:spcPct val="0"/>
              </a:spcAft>
              <a:buChar char="•"/>
              <a:defRPr sz="1108">
                <a:solidFill>
                  <a:schemeClr val="bg2"/>
                </a:solidFill>
                <a:latin typeface="FS Severstal" pitchFamily="2" charset="0"/>
              </a:defRPr>
            </a:lvl7pPr>
            <a:lvl8pPr marL="3256166" indent="-221279" defTabSz="883649" fontAlgn="base">
              <a:spcBef>
                <a:spcPct val="20000"/>
              </a:spcBef>
              <a:spcAft>
                <a:spcPct val="0"/>
              </a:spcAft>
              <a:buChar char="•"/>
              <a:defRPr sz="1108">
                <a:solidFill>
                  <a:schemeClr val="bg2"/>
                </a:solidFill>
                <a:latin typeface="FS Severstal" pitchFamily="2" charset="0"/>
              </a:defRPr>
            </a:lvl8pPr>
            <a:lvl9pPr marL="3678207" indent="-221279" defTabSz="883649" fontAlgn="base">
              <a:spcBef>
                <a:spcPct val="20000"/>
              </a:spcBef>
              <a:spcAft>
                <a:spcPct val="0"/>
              </a:spcAft>
              <a:buChar char="•"/>
              <a:defRPr sz="1108">
                <a:solidFill>
                  <a:schemeClr val="bg2"/>
                </a:solidFill>
                <a:latin typeface="FS Severstal" pitchFamily="2" charset="0"/>
              </a:defRPr>
            </a:lvl9pPr>
          </a:lstStyle>
          <a:p>
            <a:pPr lvl="0"/>
            <a:r>
              <a:rPr lang="ru-RU" sz="5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Любое несанкционированное копирование, раскрытие или распространение материалов, </a:t>
            </a:r>
            <a:br>
              <a:rPr lang="ru-RU" sz="500" dirty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ru-RU" sz="5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содержащихся в данном документе (или приложениях к нему), строго запрещено.</a:t>
            </a:r>
          </a:p>
        </p:txBody>
      </p:sp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A1264BA0-352D-4F04-B9AA-CF0C2CEE43A9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11"/>
              </a:ext>
            </a:extLst>
          </a:blip>
          <a:stretch>
            <a:fillRect/>
          </a:stretch>
        </p:blipFill>
        <p:spPr>
          <a:xfrm>
            <a:off x="10715785" y="350913"/>
            <a:ext cx="1138871" cy="35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18359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9" r:id="rId2"/>
    <p:sldLayoutId id="2147483690" r:id="rId3"/>
    <p:sldLayoutId id="2147483699" r:id="rId4"/>
  </p:sldLayoutIdLst>
  <p:hf hdr="0" ftr="0" dt="0"/>
  <p:txStyles>
    <p:titleStyle>
      <a:lvl1pPr algn="l" defTabSz="883649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000" b="1" i="0" spc="0" baseline="0">
          <a:solidFill>
            <a:schemeClr val="accent2"/>
          </a:solidFill>
          <a:latin typeface="+mj-lt"/>
          <a:ea typeface="+mj-ea"/>
          <a:cs typeface="+mj-cs"/>
        </a:defRPr>
      </a:lvl1pPr>
      <a:lvl2pPr algn="l" defTabSz="883649" rtl="0" eaLnBrk="0" fontAlgn="base" hangingPunct="0">
        <a:spcBef>
          <a:spcPct val="0"/>
        </a:spcBef>
        <a:spcAft>
          <a:spcPct val="0"/>
        </a:spcAft>
        <a:defRPr sz="1846" i="1">
          <a:solidFill>
            <a:srgbClr val="00579C"/>
          </a:solidFill>
          <a:latin typeface="Arial" charset="0"/>
        </a:defRPr>
      </a:lvl2pPr>
      <a:lvl3pPr algn="l" defTabSz="883649" rtl="0" eaLnBrk="0" fontAlgn="base" hangingPunct="0">
        <a:spcBef>
          <a:spcPct val="0"/>
        </a:spcBef>
        <a:spcAft>
          <a:spcPct val="0"/>
        </a:spcAft>
        <a:defRPr sz="1846" i="1">
          <a:solidFill>
            <a:srgbClr val="00579C"/>
          </a:solidFill>
          <a:latin typeface="Arial" charset="0"/>
        </a:defRPr>
      </a:lvl3pPr>
      <a:lvl4pPr algn="l" defTabSz="883649" rtl="0" eaLnBrk="0" fontAlgn="base" hangingPunct="0">
        <a:spcBef>
          <a:spcPct val="0"/>
        </a:spcBef>
        <a:spcAft>
          <a:spcPct val="0"/>
        </a:spcAft>
        <a:defRPr sz="1846" i="1">
          <a:solidFill>
            <a:srgbClr val="00579C"/>
          </a:solidFill>
          <a:latin typeface="Arial" charset="0"/>
        </a:defRPr>
      </a:lvl4pPr>
      <a:lvl5pPr algn="l" defTabSz="883649" rtl="0" eaLnBrk="0" fontAlgn="base" hangingPunct="0">
        <a:spcBef>
          <a:spcPct val="0"/>
        </a:spcBef>
        <a:spcAft>
          <a:spcPct val="0"/>
        </a:spcAft>
        <a:defRPr sz="1846" i="1">
          <a:solidFill>
            <a:srgbClr val="00579C"/>
          </a:solidFill>
          <a:latin typeface="Arial" charset="0"/>
        </a:defRPr>
      </a:lvl5pPr>
      <a:lvl6pPr marL="422041" algn="l" defTabSz="883649" rtl="0" fontAlgn="base">
        <a:spcBef>
          <a:spcPct val="0"/>
        </a:spcBef>
        <a:spcAft>
          <a:spcPct val="0"/>
        </a:spcAft>
        <a:defRPr sz="2585" i="1">
          <a:solidFill>
            <a:srgbClr val="00579C"/>
          </a:solidFill>
          <a:latin typeface="Arial" charset="0"/>
        </a:defRPr>
      </a:lvl6pPr>
      <a:lvl7pPr marL="844083" algn="l" defTabSz="883649" rtl="0" fontAlgn="base">
        <a:spcBef>
          <a:spcPct val="0"/>
        </a:spcBef>
        <a:spcAft>
          <a:spcPct val="0"/>
        </a:spcAft>
        <a:defRPr sz="2585" i="1">
          <a:solidFill>
            <a:srgbClr val="00579C"/>
          </a:solidFill>
          <a:latin typeface="Arial" charset="0"/>
        </a:defRPr>
      </a:lvl7pPr>
      <a:lvl8pPr marL="1266124" algn="l" defTabSz="883649" rtl="0" fontAlgn="base">
        <a:spcBef>
          <a:spcPct val="0"/>
        </a:spcBef>
        <a:spcAft>
          <a:spcPct val="0"/>
        </a:spcAft>
        <a:defRPr sz="2585" i="1">
          <a:solidFill>
            <a:srgbClr val="00579C"/>
          </a:solidFill>
          <a:latin typeface="Arial" charset="0"/>
        </a:defRPr>
      </a:lvl8pPr>
      <a:lvl9pPr marL="1688165" algn="l" defTabSz="883649" rtl="0" fontAlgn="base">
        <a:spcBef>
          <a:spcPct val="0"/>
        </a:spcBef>
        <a:spcAft>
          <a:spcPct val="0"/>
        </a:spcAft>
        <a:defRPr sz="2585" i="1">
          <a:solidFill>
            <a:srgbClr val="00579C"/>
          </a:solidFill>
          <a:latin typeface="Arial" charset="0"/>
        </a:defRPr>
      </a:lvl9pPr>
    </p:titleStyle>
    <p:bodyStyle>
      <a:lvl1pPr marL="331185" indent="-331185" algn="l" defTabSz="883649" rtl="0" eaLnBrk="0" fontAlgn="base" hangingPunct="0">
        <a:spcBef>
          <a:spcPct val="20000"/>
        </a:spcBef>
        <a:spcAft>
          <a:spcPct val="0"/>
        </a:spcAft>
        <a:buChar char="•"/>
        <a:defRPr sz="1292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18056" indent="-275499" algn="l" defTabSz="883649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1292">
          <a:solidFill>
            <a:schemeClr val="tx1">
              <a:lumMod val="75000"/>
              <a:lumOff val="25000"/>
            </a:schemeClr>
          </a:solidFill>
          <a:latin typeface="+mn-lt"/>
        </a:defRPr>
      </a:lvl2pPr>
      <a:lvl3pPr marL="1104928" indent="-221279" algn="l" defTabSz="883649" rtl="0" eaLnBrk="0" fontAlgn="base" hangingPunct="0">
        <a:spcBef>
          <a:spcPct val="20000"/>
        </a:spcBef>
        <a:spcAft>
          <a:spcPct val="0"/>
        </a:spcAft>
        <a:buFont typeface="Arial" charset="0"/>
        <a:buChar char="&gt;"/>
        <a:defRPr sz="1292">
          <a:solidFill>
            <a:schemeClr val="tx1">
              <a:lumMod val="75000"/>
              <a:lumOff val="25000"/>
            </a:schemeClr>
          </a:solidFill>
          <a:latin typeface="+mn-lt"/>
        </a:defRPr>
      </a:lvl3pPr>
      <a:lvl4pPr marL="1547485" indent="-221279" algn="l" defTabSz="883649" rtl="0" eaLnBrk="0" fontAlgn="base" hangingPunct="0">
        <a:spcBef>
          <a:spcPct val="20000"/>
        </a:spcBef>
        <a:spcAft>
          <a:spcPct val="0"/>
        </a:spcAft>
        <a:buChar char="–"/>
        <a:defRPr sz="1108">
          <a:solidFill>
            <a:schemeClr val="tx1">
              <a:lumMod val="75000"/>
              <a:lumOff val="25000"/>
            </a:schemeClr>
          </a:solidFill>
          <a:latin typeface="FS Severstal" pitchFamily="2" charset="0"/>
        </a:defRPr>
      </a:lvl4pPr>
      <a:lvl5pPr marL="1990042" indent="-221279" algn="l" defTabSz="883649" rtl="0" eaLnBrk="0" fontAlgn="base" hangingPunct="0">
        <a:spcBef>
          <a:spcPct val="20000"/>
        </a:spcBef>
        <a:spcAft>
          <a:spcPct val="0"/>
        </a:spcAft>
        <a:buChar char="•"/>
        <a:defRPr sz="1108">
          <a:solidFill>
            <a:schemeClr val="tx1">
              <a:lumMod val="75000"/>
              <a:lumOff val="25000"/>
            </a:schemeClr>
          </a:solidFill>
          <a:latin typeface="FS Severstal" pitchFamily="2" charset="0"/>
        </a:defRPr>
      </a:lvl5pPr>
      <a:lvl6pPr marL="2412083" indent="-221279" algn="l" defTabSz="883649" rtl="0" fontAlgn="base">
        <a:spcBef>
          <a:spcPct val="20000"/>
        </a:spcBef>
        <a:spcAft>
          <a:spcPct val="0"/>
        </a:spcAft>
        <a:buChar char="•"/>
        <a:defRPr sz="1108">
          <a:solidFill>
            <a:schemeClr val="bg2"/>
          </a:solidFill>
          <a:latin typeface="FS Severstal" pitchFamily="2" charset="0"/>
        </a:defRPr>
      </a:lvl6pPr>
      <a:lvl7pPr marL="2834125" indent="-221279" algn="l" defTabSz="883649" rtl="0" fontAlgn="base">
        <a:spcBef>
          <a:spcPct val="20000"/>
        </a:spcBef>
        <a:spcAft>
          <a:spcPct val="0"/>
        </a:spcAft>
        <a:buChar char="•"/>
        <a:defRPr sz="1108">
          <a:solidFill>
            <a:schemeClr val="bg2"/>
          </a:solidFill>
          <a:latin typeface="FS Severstal" pitchFamily="2" charset="0"/>
        </a:defRPr>
      </a:lvl7pPr>
      <a:lvl8pPr marL="3256166" indent="-221279" algn="l" defTabSz="883649" rtl="0" fontAlgn="base">
        <a:spcBef>
          <a:spcPct val="20000"/>
        </a:spcBef>
        <a:spcAft>
          <a:spcPct val="0"/>
        </a:spcAft>
        <a:buChar char="•"/>
        <a:defRPr sz="1108">
          <a:solidFill>
            <a:schemeClr val="bg2"/>
          </a:solidFill>
          <a:latin typeface="FS Severstal" pitchFamily="2" charset="0"/>
        </a:defRPr>
      </a:lvl8pPr>
      <a:lvl9pPr marL="3678207" indent="-221279" algn="l" defTabSz="883649" rtl="0" fontAlgn="base">
        <a:spcBef>
          <a:spcPct val="20000"/>
        </a:spcBef>
        <a:spcAft>
          <a:spcPct val="0"/>
        </a:spcAft>
        <a:buChar char="•"/>
        <a:defRPr sz="1108">
          <a:solidFill>
            <a:schemeClr val="bg2"/>
          </a:solidFill>
          <a:latin typeface="FS Severstal" pitchFamily="2" charset="0"/>
        </a:defRPr>
      </a:lvl9pPr>
    </p:bodyStyle>
    <p:otherStyle>
      <a:defPPr>
        <a:defRPr lang="ru-RU"/>
      </a:defPPr>
      <a:lvl1pPr marL="0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57" userDrawn="1">
          <p15:clr>
            <a:srgbClr val="F26B43"/>
          </p15:clr>
        </p15:guide>
        <p15:guide id="2" pos="7423" userDrawn="1">
          <p15:clr>
            <a:srgbClr val="F26B43"/>
          </p15:clr>
        </p15:guide>
        <p15:guide id="3" orient="horz" pos="3974" userDrawn="1">
          <p15:clr>
            <a:srgbClr val="F26B43"/>
          </p15:clr>
        </p15:guide>
        <p15:guide id="4" orient="horz" pos="686" userDrawn="1">
          <p15:clr>
            <a:srgbClr val="F26B43"/>
          </p15:clr>
        </p15:guide>
        <p15:guide id="5" orient="horz" pos="73" userDrawn="1">
          <p15:clr>
            <a:srgbClr val="F26B43"/>
          </p15:clr>
        </p15:guide>
        <p15:guide id="6" orient="horz" pos="4247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27" name="Слайд think-cell" r:id="rId23" imgW="395" imgH="396" progId="TCLayout.ActiveDocument.1">
                  <p:embed/>
                </p:oleObj>
              </mc:Choice>
              <mc:Fallback>
                <p:oleObj name="Слайд think-cell" r:id="rId23" imgW="395" imgH="396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3">
            <a:extLst>
              <a:ext uri="{FF2B5EF4-FFF2-40B4-BE49-F238E27FC236}">
                <a16:creationId xmlns:a16="http://schemas.microsoft.com/office/drawing/2014/main" id="{B01F387C-39A2-4383-9067-930B5BAB918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9576" y="6455903"/>
            <a:ext cx="1214424" cy="2308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5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8" name="Title Placeholder 7">
            <a:extLst>
              <a:ext uri="{FF2B5EF4-FFF2-40B4-BE49-F238E27FC236}">
                <a16:creationId xmlns:a16="http://schemas.microsoft.com/office/drawing/2014/main" id="{2E633E08-A2F7-2240-B1AF-8CE9750E3D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16465"/>
            <a:ext cx="10080500" cy="297962"/>
          </a:xfrm>
          <a:prstGeom prst="rect">
            <a:avLst/>
          </a:prstGeom>
        </p:spPr>
        <p:txBody>
          <a:bodyPr vert="horz" wrap="square" lIns="0" tIns="36000" rIns="0" bIns="0" rtlCol="0" anchor="b">
            <a:spAutoFit/>
          </a:bodyPr>
          <a:lstStyle/>
          <a:p>
            <a:endParaRPr lang="ru-RU" dirty="0"/>
          </a:p>
        </p:txBody>
      </p:sp>
      <p:sp>
        <p:nvSpPr>
          <p:cNvPr id="20" name="Прямоугольник 66">
            <a:extLst>
              <a:ext uri="{FF2B5EF4-FFF2-40B4-BE49-F238E27FC236}">
                <a16:creationId xmlns:a16="http://schemas.microsoft.com/office/drawing/2014/main" id="{A76AE22A-5B69-234B-BB91-7A091D162553}"/>
              </a:ext>
            </a:extLst>
          </p:cNvPr>
          <p:cNvSpPr/>
          <p:nvPr userDrawn="1"/>
        </p:nvSpPr>
        <p:spPr>
          <a:xfrm>
            <a:off x="3" y="6831000"/>
            <a:ext cx="12191999" cy="27000"/>
          </a:xfrm>
          <a:prstGeom prst="rect">
            <a:avLst/>
          </a:prstGeom>
          <a:gradFill>
            <a:gsLst>
              <a:gs pos="0">
                <a:schemeClr val="accent2"/>
              </a:gs>
              <a:gs pos="86000">
                <a:schemeClr val="accent2">
                  <a:lumMod val="75000"/>
                </a:schemeClr>
              </a:gs>
            </a:gsLst>
            <a:lin ang="4200000" scaled="0"/>
          </a:gradFill>
          <a:ln w="9525">
            <a:noFill/>
            <a:miter lim="800000"/>
            <a:headEnd/>
            <a:tailEnd/>
          </a:ln>
          <a:effectLst/>
        </p:spPr>
        <p:txBody>
          <a:bodyPr vert="horz" wrap="square" lIns="14400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895350">
              <a:spcAft>
                <a:spcPts val="600"/>
              </a:spcAft>
              <a:buClr>
                <a:schemeClr val="accent1"/>
              </a:buClr>
            </a:pPr>
            <a:endParaRPr lang="ru-RU" sz="1600">
              <a:solidFill>
                <a:schemeClr val="bg1"/>
              </a:solidFill>
            </a:endParaRPr>
          </a:p>
        </p:txBody>
      </p:sp>
      <p:sp>
        <p:nvSpPr>
          <p:cNvPr id="2" name="Текст 1">
            <a:extLst>
              <a:ext uri="{FF2B5EF4-FFF2-40B4-BE49-F238E27FC236}">
                <a16:creationId xmlns:a16="http://schemas.microsoft.com/office/drawing/2014/main" id="{4467EA0F-216A-4484-99FF-CCA159F1425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7994" y="1089028"/>
            <a:ext cx="11376012" cy="521969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grpSp>
        <p:nvGrpSpPr>
          <p:cNvPr id="25" name="Group 13">
            <a:extLst>
              <a:ext uri="{FF2B5EF4-FFF2-40B4-BE49-F238E27FC236}">
                <a16:creationId xmlns:a16="http://schemas.microsoft.com/office/drawing/2014/main" id="{C1237F2C-6BEC-44EA-BC90-2B0B605EAF8D}"/>
              </a:ext>
            </a:extLst>
          </p:cNvPr>
          <p:cNvGrpSpPr/>
          <p:nvPr userDrawn="1"/>
        </p:nvGrpSpPr>
        <p:grpSpPr>
          <a:xfrm>
            <a:off x="408000" y="849399"/>
            <a:ext cx="11376000" cy="0"/>
            <a:chOff x="395288" y="1060807"/>
            <a:chExt cx="8353425" cy="0"/>
          </a:xfrm>
        </p:grpSpPr>
        <p:cxnSp>
          <p:nvCxnSpPr>
            <p:cNvPr id="26" name="Прямая соединительная линия 9">
              <a:extLst>
                <a:ext uri="{FF2B5EF4-FFF2-40B4-BE49-F238E27FC236}">
                  <a16:creationId xmlns:a16="http://schemas.microsoft.com/office/drawing/2014/main" id="{2685F1ED-39F8-4BC6-B211-0C64BEC7DC10}"/>
                </a:ext>
              </a:extLst>
            </p:cNvPr>
            <p:cNvCxnSpPr>
              <a:cxnSpLocks/>
            </p:cNvCxnSpPr>
            <p:nvPr userDrawn="1"/>
          </p:nvCxnSpPr>
          <p:spPr bwMode="auto">
            <a:xfrm>
              <a:off x="395288" y="1060807"/>
              <a:ext cx="2786400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gradFill>
                <a:gsLst>
                  <a:gs pos="0">
                    <a:schemeClr val="accent1"/>
                  </a:gs>
                  <a:gs pos="100000">
                    <a:schemeClr val="accent1">
                      <a:lumMod val="75000"/>
                    </a:schemeClr>
                  </a:gs>
                </a:gsLst>
                <a:lin ang="0" scaled="0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7" name="Прямая соединительная линия 9">
              <a:extLst>
                <a:ext uri="{FF2B5EF4-FFF2-40B4-BE49-F238E27FC236}">
                  <a16:creationId xmlns:a16="http://schemas.microsoft.com/office/drawing/2014/main" id="{F464F77E-9135-499C-94BF-D613AA1F7FB7}"/>
                </a:ext>
              </a:extLst>
            </p:cNvPr>
            <p:cNvCxnSpPr>
              <a:cxnSpLocks/>
            </p:cNvCxnSpPr>
            <p:nvPr userDrawn="1"/>
          </p:nvCxnSpPr>
          <p:spPr bwMode="auto">
            <a:xfrm>
              <a:off x="3178800" y="1060807"/>
              <a:ext cx="2786400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gradFill>
                <a:gsLst>
                  <a:gs pos="0">
                    <a:schemeClr val="accent2"/>
                  </a:gs>
                  <a:gs pos="100000">
                    <a:schemeClr val="accent2">
                      <a:lumMod val="75000"/>
                    </a:schemeClr>
                  </a:gs>
                </a:gsLst>
                <a:lin ang="0" scaled="0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8" name="Прямая соединительная линия 9">
              <a:extLst>
                <a:ext uri="{FF2B5EF4-FFF2-40B4-BE49-F238E27FC236}">
                  <a16:creationId xmlns:a16="http://schemas.microsoft.com/office/drawing/2014/main" id="{F1ECDFBF-C7A0-408C-84DD-BF2096405387}"/>
                </a:ext>
              </a:extLst>
            </p:cNvPr>
            <p:cNvCxnSpPr>
              <a:cxnSpLocks/>
            </p:cNvCxnSpPr>
            <p:nvPr userDrawn="1"/>
          </p:nvCxnSpPr>
          <p:spPr bwMode="auto">
            <a:xfrm>
              <a:off x="5962313" y="1060807"/>
              <a:ext cx="2786400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gradFill>
                <a:gsLst>
                  <a:gs pos="100000">
                    <a:schemeClr val="accent3"/>
                  </a:gs>
                  <a:gs pos="0">
                    <a:schemeClr val="accent3">
                      <a:lumMod val="60000"/>
                      <a:lumOff val="40000"/>
                    </a:schemeClr>
                  </a:gs>
                </a:gsLst>
                <a:lin ang="0" scaled="0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30" name="TextBox 29">
            <a:extLst>
              <a:ext uri="{FF2B5EF4-FFF2-40B4-BE49-F238E27FC236}">
                <a16:creationId xmlns:a16="http://schemas.microsoft.com/office/drawing/2014/main" id="{C70892B7-CD7A-4D50-A1E9-C654EDDD4643}"/>
              </a:ext>
            </a:extLst>
          </p:cNvPr>
          <p:cNvSpPr txBox="1"/>
          <p:nvPr userDrawn="1"/>
        </p:nvSpPr>
        <p:spPr>
          <a:xfrm>
            <a:off x="407989" y="6494391"/>
            <a:ext cx="9260946" cy="15388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indent="0" defTabSz="883649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6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18056" indent="-275499" defTabSz="883649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04928" indent="-221279" defTabSz="883649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&gt;"/>
              <a:defRPr sz="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547485" indent="-221279" defTabSz="883649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990042" indent="-221279" defTabSz="883649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6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412083" indent="-221279" defTabSz="883649" fontAlgn="base">
              <a:spcBef>
                <a:spcPct val="20000"/>
              </a:spcBef>
              <a:spcAft>
                <a:spcPct val="0"/>
              </a:spcAft>
              <a:buChar char="•"/>
              <a:defRPr sz="1108">
                <a:solidFill>
                  <a:schemeClr val="bg2"/>
                </a:solidFill>
                <a:latin typeface="FS Severstal" pitchFamily="2" charset="0"/>
              </a:defRPr>
            </a:lvl6pPr>
            <a:lvl7pPr marL="2834125" indent="-221279" defTabSz="883649" fontAlgn="base">
              <a:spcBef>
                <a:spcPct val="20000"/>
              </a:spcBef>
              <a:spcAft>
                <a:spcPct val="0"/>
              </a:spcAft>
              <a:buChar char="•"/>
              <a:defRPr sz="1108">
                <a:solidFill>
                  <a:schemeClr val="bg2"/>
                </a:solidFill>
                <a:latin typeface="FS Severstal" pitchFamily="2" charset="0"/>
              </a:defRPr>
            </a:lvl7pPr>
            <a:lvl8pPr marL="3256166" indent="-221279" defTabSz="883649" fontAlgn="base">
              <a:spcBef>
                <a:spcPct val="20000"/>
              </a:spcBef>
              <a:spcAft>
                <a:spcPct val="0"/>
              </a:spcAft>
              <a:buChar char="•"/>
              <a:defRPr sz="1108">
                <a:solidFill>
                  <a:schemeClr val="bg2"/>
                </a:solidFill>
                <a:latin typeface="FS Severstal" pitchFamily="2" charset="0"/>
              </a:defRPr>
            </a:lvl8pPr>
            <a:lvl9pPr marL="3678207" indent="-221279" defTabSz="883649" fontAlgn="base">
              <a:spcBef>
                <a:spcPct val="20000"/>
              </a:spcBef>
              <a:spcAft>
                <a:spcPct val="0"/>
              </a:spcAft>
              <a:buChar char="•"/>
              <a:defRPr sz="1108">
                <a:solidFill>
                  <a:schemeClr val="bg2"/>
                </a:solidFill>
                <a:latin typeface="FS Severstal" pitchFamily="2" charset="0"/>
              </a:defRPr>
            </a:lvl9pPr>
          </a:lstStyle>
          <a:p>
            <a:pPr lvl="0"/>
            <a:r>
              <a:rPr lang="ru-RU" sz="5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Любое несанкционированное копирование, раскрытие или распространение материалов, </a:t>
            </a:r>
            <a:br>
              <a:rPr lang="ru-RU" sz="500" dirty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ru-RU" sz="5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содержащихся в данном документе (или приложениях к нему), строго запрещено.</a:t>
            </a:r>
          </a:p>
        </p:txBody>
      </p:sp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A1264BA0-352D-4F04-B9AA-CF0C2CEE43A9}"/>
              </a:ext>
            </a:extLst>
          </p:cNvPr>
          <p:cNvPicPr>
            <a:picLocks noChangeAspect="1"/>
          </p:cNvPicPr>
          <p:nvPr userDrawn="1"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10715785" y="350913"/>
            <a:ext cx="1138871" cy="35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18998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  <p:sldLayoutId id="2147483720" r:id="rId12"/>
    <p:sldLayoutId id="2147483721" r:id="rId13"/>
    <p:sldLayoutId id="2147483722" r:id="rId14"/>
    <p:sldLayoutId id="2147483723" r:id="rId15"/>
    <p:sldLayoutId id="2147483724" r:id="rId16"/>
    <p:sldLayoutId id="2147483725" r:id="rId17"/>
    <p:sldLayoutId id="2147483726" r:id="rId18"/>
    <p:sldLayoutId id="2147483727" r:id="rId19"/>
  </p:sldLayoutIdLst>
  <p:hf hdr="0" ftr="0" dt="0"/>
  <p:txStyles>
    <p:titleStyle>
      <a:lvl1pPr algn="l" defTabSz="883649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000" b="1" i="0" spc="0" baseline="0">
          <a:solidFill>
            <a:schemeClr val="accent2"/>
          </a:solidFill>
          <a:latin typeface="+mj-lt"/>
          <a:ea typeface="+mj-ea"/>
          <a:cs typeface="+mj-cs"/>
        </a:defRPr>
      </a:lvl1pPr>
      <a:lvl2pPr algn="l" defTabSz="883649" rtl="0" eaLnBrk="0" fontAlgn="base" hangingPunct="0">
        <a:spcBef>
          <a:spcPct val="0"/>
        </a:spcBef>
        <a:spcAft>
          <a:spcPct val="0"/>
        </a:spcAft>
        <a:defRPr sz="1846" i="1">
          <a:solidFill>
            <a:srgbClr val="00579C"/>
          </a:solidFill>
          <a:latin typeface="Arial" charset="0"/>
        </a:defRPr>
      </a:lvl2pPr>
      <a:lvl3pPr algn="l" defTabSz="883649" rtl="0" eaLnBrk="0" fontAlgn="base" hangingPunct="0">
        <a:spcBef>
          <a:spcPct val="0"/>
        </a:spcBef>
        <a:spcAft>
          <a:spcPct val="0"/>
        </a:spcAft>
        <a:defRPr sz="1846" i="1">
          <a:solidFill>
            <a:srgbClr val="00579C"/>
          </a:solidFill>
          <a:latin typeface="Arial" charset="0"/>
        </a:defRPr>
      </a:lvl3pPr>
      <a:lvl4pPr algn="l" defTabSz="883649" rtl="0" eaLnBrk="0" fontAlgn="base" hangingPunct="0">
        <a:spcBef>
          <a:spcPct val="0"/>
        </a:spcBef>
        <a:spcAft>
          <a:spcPct val="0"/>
        </a:spcAft>
        <a:defRPr sz="1846" i="1">
          <a:solidFill>
            <a:srgbClr val="00579C"/>
          </a:solidFill>
          <a:latin typeface="Arial" charset="0"/>
        </a:defRPr>
      </a:lvl4pPr>
      <a:lvl5pPr algn="l" defTabSz="883649" rtl="0" eaLnBrk="0" fontAlgn="base" hangingPunct="0">
        <a:spcBef>
          <a:spcPct val="0"/>
        </a:spcBef>
        <a:spcAft>
          <a:spcPct val="0"/>
        </a:spcAft>
        <a:defRPr sz="1846" i="1">
          <a:solidFill>
            <a:srgbClr val="00579C"/>
          </a:solidFill>
          <a:latin typeface="Arial" charset="0"/>
        </a:defRPr>
      </a:lvl5pPr>
      <a:lvl6pPr marL="422041" algn="l" defTabSz="883649" rtl="0" fontAlgn="base">
        <a:spcBef>
          <a:spcPct val="0"/>
        </a:spcBef>
        <a:spcAft>
          <a:spcPct val="0"/>
        </a:spcAft>
        <a:defRPr sz="2585" i="1">
          <a:solidFill>
            <a:srgbClr val="00579C"/>
          </a:solidFill>
          <a:latin typeface="Arial" charset="0"/>
        </a:defRPr>
      </a:lvl6pPr>
      <a:lvl7pPr marL="844083" algn="l" defTabSz="883649" rtl="0" fontAlgn="base">
        <a:spcBef>
          <a:spcPct val="0"/>
        </a:spcBef>
        <a:spcAft>
          <a:spcPct val="0"/>
        </a:spcAft>
        <a:defRPr sz="2585" i="1">
          <a:solidFill>
            <a:srgbClr val="00579C"/>
          </a:solidFill>
          <a:latin typeface="Arial" charset="0"/>
        </a:defRPr>
      </a:lvl7pPr>
      <a:lvl8pPr marL="1266124" algn="l" defTabSz="883649" rtl="0" fontAlgn="base">
        <a:spcBef>
          <a:spcPct val="0"/>
        </a:spcBef>
        <a:spcAft>
          <a:spcPct val="0"/>
        </a:spcAft>
        <a:defRPr sz="2585" i="1">
          <a:solidFill>
            <a:srgbClr val="00579C"/>
          </a:solidFill>
          <a:latin typeface="Arial" charset="0"/>
        </a:defRPr>
      </a:lvl8pPr>
      <a:lvl9pPr marL="1688165" algn="l" defTabSz="883649" rtl="0" fontAlgn="base">
        <a:spcBef>
          <a:spcPct val="0"/>
        </a:spcBef>
        <a:spcAft>
          <a:spcPct val="0"/>
        </a:spcAft>
        <a:defRPr sz="2585" i="1">
          <a:solidFill>
            <a:srgbClr val="00579C"/>
          </a:solidFill>
          <a:latin typeface="Arial" charset="0"/>
        </a:defRPr>
      </a:lvl9pPr>
    </p:titleStyle>
    <p:bodyStyle>
      <a:lvl1pPr marL="331185" indent="-331185" algn="l" defTabSz="883649" rtl="0" eaLnBrk="0" fontAlgn="base" hangingPunct="0">
        <a:spcBef>
          <a:spcPct val="20000"/>
        </a:spcBef>
        <a:spcAft>
          <a:spcPct val="0"/>
        </a:spcAft>
        <a:buChar char="•"/>
        <a:defRPr sz="1292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18056" indent="-275499" algn="l" defTabSz="883649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1292">
          <a:solidFill>
            <a:schemeClr val="tx1">
              <a:lumMod val="75000"/>
              <a:lumOff val="25000"/>
            </a:schemeClr>
          </a:solidFill>
          <a:latin typeface="+mn-lt"/>
        </a:defRPr>
      </a:lvl2pPr>
      <a:lvl3pPr marL="1104928" indent="-221279" algn="l" defTabSz="883649" rtl="0" eaLnBrk="0" fontAlgn="base" hangingPunct="0">
        <a:spcBef>
          <a:spcPct val="20000"/>
        </a:spcBef>
        <a:spcAft>
          <a:spcPct val="0"/>
        </a:spcAft>
        <a:buFont typeface="Arial" charset="0"/>
        <a:buChar char="&gt;"/>
        <a:defRPr sz="1292">
          <a:solidFill>
            <a:schemeClr val="tx1">
              <a:lumMod val="75000"/>
              <a:lumOff val="25000"/>
            </a:schemeClr>
          </a:solidFill>
          <a:latin typeface="+mn-lt"/>
        </a:defRPr>
      </a:lvl3pPr>
      <a:lvl4pPr marL="1547485" indent="-221279" algn="l" defTabSz="883649" rtl="0" eaLnBrk="0" fontAlgn="base" hangingPunct="0">
        <a:spcBef>
          <a:spcPct val="20000"/>
        </a:spcBef>
        <a:spcAft>
          <a:spcPct val="0"/>
        </a:spcAft>
        <a:buChar char="–"/>
        <a:defRPr sz="1108">
          <a:solidFill>
            <a:schemeClr val="tx1">
              <a:lumMod val="75000"/>
              <a:lumOff val="25000"/>
            </a:schemeClr>
          </a:solidFill>
          <a:latin typeface="FS Severstal" pitchFamily="2" charset="0"/>
        </a:defRPr>
      </a:lvl4pPr>
      <a:lvl5pPr marL="1990042" indent="-221279" algn="l" defTabSz="883649" rtl="0" eaLnBrk="0" fontAlgn="base" hangingPunct="0">
        <a:spcBef>
          <a:spcPct val="20000"/>
        </a:spcBef>
        <a:spcAft>
          <a:spcPct val="0"/>
        </a:spcAft>
        <a:buChar char="•"/>
        <a:defRPr sz="1108">
          <a:solidFill>
            <a:schemeClr val="tx1">
              <a:lumMod val="75000"/>
              <a:lumOff val="25000"/>
            </a:schemeClr>
          </a:solidFill>
          <a:latin typeface="FS Severstal" pitchFamily="2" charset="0"/>
        </a:defRPr>
      </a:lvl5pPr>
      <a:lvl6pPr marL="2412083" indent="-221279" algn="l" defTabSz="883649" rtl="0" fontAlgn="base">
        <a:spcBef>
          <a:spcPct val="20000"/>
        </a:spcBef>
        <a:spcAft>
          <a:spcPct val="0"/>
        </a:spcAft>
        <a:buChar char="•"/>
        <a:defRPr sz="1108">
          <a:solidFill>
            <a:schemeClr val="bg2"/>
          </a:solidFill>
          <a:latin typeface="FS Severstal" pitchFamily="2" charset="0"/>
        </a:defRPr>
      </a:lvl6pPr>
      <a:lvl7pPr marL="2834125" indent="-221279" algn="l" defTabSz="883649" rtl="0" fontAlgn="base">
        <a:spcBef>
          <a:spcPct val="20000"/>
        </a:spcBef>
        <a:spcAft>
          <a:spcPct val="0"/>
        </a:spcAft>
        <a:buChar char="•"/>
        <a:defRPr sz="1108">
          <a:solidFill>
            <a:schemeClr val="bg2"/>
          </a:solidFill>
          <a:latin typeface="FS Severstal" pitchFamily="2" charset="0"/>
        </a:defRPr>
      </a:lvl7pPr>
      <a:lvl8pPr marL="3256166" indent="-221279" algn="l" defTabSz="883649" rtl="0" fontAlgn="base">
        <a:spcBef>
          <a:spcPct val="20000"/>
        </a:spcBef>
        <a:spcAft>
          <a:spcPct val="0"/>
        </a:spcAft>
        <a:buChar char="•"/>
        <a:defRPr sz="1108">
          <a:solidFill>
            <a:schemeClr val="bg2"/>
          </a:solidFill>
          <a:latin typeface="FS Severstal" pitchFamily="2" charset="0"/>
        </a:defRPr>
      </a:lvl8pPr>
      <a:lvl9pPr marL="3678207" indent="-221279" algn="l" defTabSz="883649" rtl="0" fontAlgn="base">
        <a:spcBef>
          <a:spcPct val="20000"/>
        </a:spcBef>
        <a:spcAft>
          <a:spcPct val="0"/>
        </a:spcAft>
        <a:buChar char="•"/>
        <a:defRPr sz="1108">
          <a:solidFill>
            <a:schemeClr val="bg2"/>
          </a:solidFill>
          <a:latin typeface="FS Severstal" pitchFamily="2" charset="0"/>
        </a:defRPr>
      </a:lvl9pPr>
    </p:bodyStyle>
    <p:otherStyle>
      <a:defPPr>
        <a:defRPr lang="ru-RU"/>
      </a:defPPr>
      <a:lvl1pPr marL="0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57">
          <p15:clr>
            <a:srgbClr val="F26B43"/>
          </p15:clr>
        </p15:guide>
        <p15:guide id="2" pos="7423">
          <p15:clr>
            <a:srgbClr val="F26B43"/>
          </p15:clr>
        </p15:guide>
        <p15:guide id="3" orient="horz" pos="3974">
          <p15:clr>
            <a:srgbClr val="F26B43"/>
          </p15:clr>
        </p15:guide>
        <p15:guide id="4" orient="horz" pos="686">
          <p15:clr>
            <a:srgbClr val="F26B43"/>
          </p15:clr>
        </p15:guide>
        <p15:guide id="5" orient="horz" pos="73">
          <p15:clr>
            <a:srgbClr val="F26B43"/>
          </p15:clr>
        </p15:guide>
        <p15:guide id="6" orient="horz" pos="4247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1271125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76" name="Слайд think-cell" r:id="rId22" imgW="395" imgH="396" progId="TCLayout.ActiveDocument.1">
                  <p:embed/>
                </p:oleObj>
              </mc:Choice>
              <mc:Fallback>
                <p:oleObj name="Слайд think-cell" r:id="rId22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3">
            <a:extLst>
              <a:ext uri="{FF2B5EF4-FFF2-40B4-BE49-F238E27FC236}">
                <a16:creationId xmlns:a16="http://schemas.microsoft.com/office/drawing/2014/main" id="{B01F387C-39A2-4383-9067-930B5BAB918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9576" y="6455903"/>
            <a:ext cx="1214424" cy="2308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5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8" name="Title Placeholder 7">
            <a:extLst>
              <a:ext uri="{FF2B5EF4-FFF2-40B4-BE49-F238E27FC236}">
                <a16:creationId xmlns:a16="http://schemas.microsoft.com/office/drawing/2014/main" id="{2E633E08-A2F7-2240-B1AF-8CE9750E3D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16465"/>
            <a:ext cx="10080500" cy="297962"/>
          </a:xfrm>
          <a:prstGeom prst="rect">
            <a:avLst/>
          </a:prstGeom>
        </p:spPr>
        <p:txBody>
          <a:bodyPr vert="horz" wrap="square" lIns="0" tIns="36000" rIns="0" bIns="0" rtlCol="0" anchor="b">
            <a:spAutoFit/>
          </a:bodyPr>
          <a:lstStyle/>
          <a:p>
            <a:endParaRPr lang="ru-RU" dirty="0"/>
          </a:p>
        </p:txBody>
      </p:sp>
      <p:sp>
        <p:nvSpPr>
          <p:cNvPr id="20" name="Прямоугольник 66">
            <a:extLst>
              <a:ext uri="{FF2B5EF4-FFF2-40B4-BE49-F238E27FC236}">
                <a16:creationId xmlns:a16="http://schemas.microsoft.com/office/drawing/2014/main" id="{A76AE22A-5B69-234B-BB91-7A091D162553}"/>
              </a:ext>
            </a:extLst>
          </p:cNvPr>
          <p:cNvSpPr/>
          <p:nvPr userDrawn="1"/>
        </p:nvSpPr>
        <p:spPr>
          <a:xfrm>
            <a:off x="3" y="6831000"/>
            <a:ext cx="12191999" cy="27000"/>
          </a:xfrm>
          <a:prstGeom prst="rect">
            <a:avLst/>
          </a:prstGeom>
          <a:gradFill>
            <a:gsLst>
              <a:gs pos="0">
                <a:schemeClr val="accent2"/>
              </a:gs>
              <a:gs pos="86000">
                <a:schemeClr val="accent2">
                  <a:lumMod val="75000"/>
                </a:schemeClr>
              </a:gs>
            </a:gsLst>
            <a:lin ang="4200000" scaled="0"/>
          </a:gradFill>
          <a:ln w="9525">
            <a:noFill/>
            <a:miter lim="800000"/>
            <a:headEnd/>
            <a:tailEnd/>
          </a:ln>
          <a:effectLst/>
        </p:spPr>
        <p:txBody>
          <a:bodyPr vert="horz" wrap="square" lIns="14400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895350">
              <a:spcAft>
                <a:spcPts val="600"/>
              </a:spcAft>
              <a:buClr>
                <a:schemeClr val="accent1"/>
              </a:buClr>
            </a:pPr>
            <a:endParaRPr lang="ru-RU" sz="1600">
              <a:solidFill>
                <a:schemeClr val="bg1"/>
              </a:solidFill>
            </a:endParaRPr>
          </a:p>
        </p:txBody>
      </p:sp>
      <p:sp>
        <p:nvSpPr>
          <p:cNvPr id="2" name="Текст 1">
            <a:extLst>
              <a:ext uri="{FF2B5EF4-FFF2-40B4-BE49-F238E27FC236}">
                <a16:creationId xmlns:a16="http://schemas.microsoft.com/office/drawing/2014/main" id="{4467EA0F-216A-4484-99FF-CCA159F1425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7994" y="1089028"/>
            <a:ext cx="11376012" cy="521969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grpSp>
        <p:nvGrpSpPr>
          <p:cNvPr id="25" name="Group 13">
            <a:extLst>
              <a:ext uri="{FF2B5EF4-FFF2-40B4-BE49-F238E27FC236}">
                <a16:creationId xmlns:a16="http://schemas.microsoft.com/office/drawing/2014/main" id="{C1237F2C-6BEC-44EA-BC90-2B0B605EAF8D}"/>
              </a:ext>
            </a:extLst>
          </p:cNvPr>
          <p:cNvGrpSpPr/>
          <p:nvPr userDrawn="1"/>
        </p:nvGrpSpPr>
        <p:grpSpPr>
          <a:xfrm>
            <a:off x="408000" y="849399"/>
            <a:ext cx="11376000" cy="0"/>
            <a:chOff x="395288" y="1060807"/>
            <a:chExt cx="8353425" cy="0"/>
          </a:xfrm>
        </p:grpSpPr>
        <p:cxnSp>
          <p:nvCxnSpPr>
            <p:cNvPr id="26" name="Прямая соединительная линия 9">
              <a:extLst>
                <a:ext uri="{FF2B5EF4-FFF2-40B4-BE49-F238E27FC236}">
                  <a16:creationId xmlns:a16="http://schemas.microsoft.com/office/drawing/2014/main" id="{2685F1ED-39F8-4BC6-B211-0C64BEC7DC10}"/>
                </a:ext>
              </a:extLst>
            </p:cNvPr>
            <p:cNvCxnSpPr>
              <a:cxnSpLocks/>
            </p:cNvCxnSpPr>
            <p:nvPr userDrawn="1"/>
          </p:nvCxnSpPr>
          <p:spPr bwMode="auto">
            <a:xfrm>
              <a:off x="395288" y="1060807"/>
              <a:ext cx="2786400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gradFill>
                <a:gsLst>
                  <a:gs pos="0">
                    <a:schemeClr val="accent1"/>
                  </a:gs>
                  <a:gs pos="100000">
                    <a:schemeClr val="accent1">
                      <a:lumMod val="75000"/>
                    </a:schemeClr>
                  </a:gs>
                </a:gsLst>
                <a:lin ang="0" scaled="0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7" name="Прямая соединительная линия 9">
              <a:extLst>
                <a:ext uri="{FF2B5EF4-FFF2-40B4-BE49-F238E27FC236}">
                  <a16:creationId xmlns:a16="http://schemas.microsoft.com/office/drawing/2014/main" id="{F464F77E-9135-499C-94BF-D613AA1F7FB7}"/>
                </a:ext>
              </a:extLst>
            </p:cNvPr>
            <p:cNvCxnSpPr>
              <a:cxnSpLocks/>
            </p:cNvCxnSpPr>
            <p:nvPr userDrawn="1"/>
          </p:nvCxnSpPr>
          <p:spPr bwMode="auto">
            <a:xfrm>
              <a:off x="3178800" y="1060807"/>
              <a:ext cx="2786400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gradFill>
                <a:gsLst>
                  <a:gs pos="0">
                    <a:schemeClr val="accent2"/>
                  </a:gs>
                  <a:gs pos="100000">
                    <a:schemeClr val="accent2">
                      <a:lumMod val="75000"/>
                    </a:schemeClr>
                  </a:gs>
                </a:gsLst>
                <a:lin ang="0" scaled="0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8" name="Прямая соединительная линия 9">
              <a:extLst>
                <a:ext uri="{FF2B5EF4-FFF2-40B4-BE49-F238E27FC236}">
                  <a16:creationId xmlns:a16="http://schemas.microsoft.com/office/drawing/2014/main" id="{F1ECDFBF-C7A0-408C-84DD-BF2096405387}"/>
                </a:ext>
              </a:extLst>
            </p:cNvPr>
            <p:cNvCxnSpPr>
              <a:cxnSpLocks/>
            </p:cNvCxnSpPr>
            <p:nvPr userDrawn="1"/>
          </p:nvCxnSpPr>
          <p:spPr bwMode="auto">
            <a:xfrm>
              <a:off x="5962313" y="1060807"/>
              <a:ext cx="2786400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gradFill>
                <a:gsLst>
                  <a:gs pos="100000">
                    <a:schemeClr val="accent3"/>
                  </a:gs>
                  <a:gs pos="0">
                    <a:schemeClr val="accent3">
                      <a:lumMod val="60000"/>
                      <a:lumOff val="40000"/>
                    </a:schemeClr>
                  </a:gs>
                </a:gsLst>
                <a:lin ang="0" scaled="0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30" name="TextBox 29">
            <a:extLst>
              <a:ext uri="{FF2B5EF4-FFF2-40B4-BE49-F238E27FC236}">
                <a16:creationId xmlns:a16="http://schemas.microsoft.com/office/drawing/2014/main" id="{C70892B7-CD7A-4D50-A1E9-C654EDDD4643}"/>
              </a:ext>
            </a:extLst>
          </p:cNvPr>
          <p:cNvSpPr txBox="1"/>
          <p:nvPr userDrawn="1"/>
        </p:nvSpPr>
        <p:spPr>
          <a:xfrm>
            <a:off x="407989" y="6494391"/>
            <a:ext cx="9260946" cy="15388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indent="0" defTabSz="883649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6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18056" indent="-275499" defTabSz="883649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04928" indent="-221279" defTabSz="883649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&gt;"/>
              <a:defRPr sz="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547485" indent="-221279" defTabSz="883649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990042" indent="-221279" defTabSz="883649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6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412083" indent="-221279" defTabSz="883649" fontAlgn="base">
              <a:spcBef>
                <a:spcPct val="20000"/>
              </a:spcBef>
              <a:spcAft>
                <a:spcPct val="0"/>
              </a:spcAft>
              <a:buChar char="•"/>
              <a:defRPr sz="1108">
                <a:solidFill>
                  <a:schemeClr val="bg2"/>
                </a:solidFill>
                <a:latin typeface="FS Severstal" pitchFamily="2" charset="0"/>
              </a:defRPr>
            </a:lvl6pPr>
            <a:lvl7pPr marL="2834125" indent="-221279" defTabSz="883649" fontAlgn="base">
              <a:spcBef>
                <a:spcPct val="20000"/>
              </a:spcBef>
              <a:spcAft>
                <a:spcPct val="0"/>
              </a:spcAft>
              <a:buChar char="•"/>
              <a:defRPr sz="1108">
                <a:solidFill>
                  <a:schemeClr val="bg2"/>
                </a:solidFill>
                <a:latin typeface="FS Severstal" pitchFamily="2" charset="0"/>
              </a:defRPr>
            </a:lvl7pPr>
            <a:lvl8pPr marL="3256166" indent="-221279" defTabSz="883649" fontAlgn="base">
              <a:spcBef>
                <a:spcPct val="20000"/>
              </a:spcBef>
              <a:spcAft>
                <a:spcPct val="0"/>
              </a:spcAft>
              <a:buChar char="•"/>
              <a:defRPr sz="1108">
                <a:solidFill>
                  <a:schemeClr val="bg2"/>
                </a:solidFill>
                <a:latin typeface="FS Severstal" pitchFamily="2" charset="0"/>
              </a:defRPr>
            </a:lvl8pPr>
            <a:lvl9pPr marL="3678207" indent="-221279" defTabSz="883649" fontAlgn="base">
              <a:spcBef>
                <a:spcPct val="20000"/>
              </a:spcBef>
              <a:spcAft>
                <a:spcPct val="0"/>
              </a:spcAft>
              <a:buChar char="•"/>
              <a:defRPr sz="1108">
                <a:solidFill>
                  <a:schemeClr val="bg2"/>
                </a:solidFill>
                <a:latin typeface="FS Severstal" pitchFamily="2" charset="0"/>
              </a:defRPr>
            </a:lvl9pPr>
          </a:lstStyle>
          <a:p>
            <a:pPr lvl="0"/>
            <a:r>
              <a:rPr lang="ru-RU" sz="5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Любое несанкционированное копирование, раскрытие или распространение материалов, </a:t>
            </a:r>
            <a:br>
              <a:rPr lang="ru-RU" sz="500" dirty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ru-RU" sz="5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содержащихся в данном документе (или приложениях к нему), строго запрещено.</a:t>
            </a:r>
          </a:p>
        </p:txBody>
      </p:sp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A1264BA0-352D-4F04-B9AA-CF0C2CEE43A9}"/>
              </a:ext>
            </a:extLst>
          </p:cNvPr>
          <p:cNvPicPr>
            <a:picLocks noChangeAspect="1"/>
          </p:cNvPicPr>
          <p:nvPr userDrawn="1"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25"/>
              </a:ext>
            </a:extLst>
          </a:blip>
          <a:stretch>
            <a:fillRect/>
          </a:stretch>
        </p:blipFill>
        <p:spPr>
          <a:xfrm>
            <a:off x="10715785" y="350913"/>
            <a:ext cx="1138871" cy="35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20951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  <p:sldLayoutId id="2147483731" r:id="rId3"/>
    <p:sldLayoutId id="2147483732" r:id="rId4"/>
    <p:sldLayoutId id="2147483733" r:id="rId5"/>
    <p:sldLayoutId id="2147483734" r:id="rId6"/>
    <p:sldLayoutId id="2147483735" r:id="rId7"/>
    <p:sldLayoutId id="2147483736" r:id="rId8"/>
    <p:sldLayoutId id="2147483737" r:id="rId9"/>
    <p:sldLayoutId id="2147483738" r:id="rId10"/>
    <p:sldLayoutId id="2147483739" r:id="rId11"/>
    <p:sldLayoutId id="2147483740" r:id="rId12"/>
    <p:sldLayoutId id="2147483741" r:id="rId13"/>
    <p:sldLayoutId id="2147483742" r:id="rId14"/>
    <p:sldLayoutId id="2147483743" r:id="rId15"/>
    <p:sldLayoutId id="2147483744" r:id="rId16"/>
    <p:sldLayoutId id="2147483745" r:id="rId17"/>
    <p:sldLayoutId id="2147483746" r:id="rId18"/>
  </p:sldLayoutIdLst>
  <p:hf hdr="0" ftr="0" dt="0"/>
  <p:txStyles>
    <p:titleStyle>
      <a:lvl1pPr algn="l" defTabSz="883649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000" b="1" i="0" spc="0" baseline="0">
          <a:solidFill>
            <a:schemeClr val="accent2"/>
          </a:solidFill>
          <a:latin typeface="+mj-lt"/>
          <a:ea typeface="+mj-ea"/>
          <a:cs typeface="+mj-cs"/>
        </a:defRPr>
      </a:lvl1pPr>
      <a:lvl2pPr algn="l" defTabSz="883649" rtl="0" eaLnBrk="0" fontAlgn="base" hangingPunct="0">
        <a:spcBef>
          <a:spcPct val="0"/>
        </a:spcBef>
        <a:spcAft>
          <a:spcPct val="0"/>
        </a:spcAft>
        <a:defRPr sz="1846" i="1">
          <a:solidFill>
            <a:srgbClr val="00579C"/>
          </a:solidFill>
          <a:latin typeface="Arial" charset="0"/>
        </a:defRPr>
      </a:lvl2pPr>
      <a:lvl3pPr algn="l" defTabSz="883649" rtl="0" eaLnBrk="0" fontAlgn="base" hangingPunct="0">
        <a:spcBef>
          <a:spcPct val="0"/>
        </a:spcBef>
        <a:spcAft>
          <a:spcPct val="0"/>
        </a:spcAft>
        <a:defRPr sz="1846" i="1">
          <a:solidFill>
            <a:srgbClr val="00579C"/>
          </a:solidFill>
          <a:latin typeface="Arial" charset="0"/>
        </a:defRPr>
      </a:lvl3pPr>
      <a:lvl4pPr algn="l" defTabSz="883649" rtl="0" eaLnBrk="0" fontAlgn="base" hangingPunct="0">
        <a:spcBef>
          <a:spcPct val="0"/>
        </a:spcBef>
        <a:spcAft>
          <a:spcPct val="0"/>
        </a:spcAft>
        <a:defRPr sz="1846" i="1">
          <a:solidFill>
            <a:srgbClr val="00579C"/>
          </a:solidFill>
          <a:latin typeface="Arial" charset="0"/>
        </a:defRPr>
      </a:lvl4pPr>
      <a:lvl5pPr algn="l" defTabSz="883649" rtl="0" eaLnBrk="0" fontAlgn="base" hangingPunct="0">
        <a:spcBef>
          <a:spcPct val="0"/>
        </a:spcBef>
        <a:spcAft>
          <a:spcPct val="0"/>
        </a:spcAft>
        <a:defRPr sz="1846" i="1">
          <a:solidFill>
            <a:srgbClr val="00579C"/>
          </a:solidFill>
          <a:latin typeface="Arial" charset="0"/>
        </a:defRPr>
      </a:lvl5pPr>
      <a:lvl6pPr marL="422041" algn="l" defTabSz="883649" rtl="0" fontAlgn="base">
        <a:spcBef>
          <a:spcPct val="0"/>
        </a:spcBef>
        <a:spcAft>
          <a:spcPct val="0"/>
        </a:spcAft>
        <a:defRPr sz="2585" i="1">
          <a:solidFill>
            <a:srgbClr val="00579C"/>
          </a:solidFill>
          <a:latin typeface="Arial" charset="0"/>
        </a:defRPr>
      </a:lvl6pPr>
      <a:lvl7pPr marL="844083" algn="l" defTabSz="883649" rtl="0" fontAlgn="base">
        <a:spcBef>
          <a:spcPct val="0"/>
        </a:spcBef>
        <a:spcAft>
          <a:spcPct val="0"/>
        </a:spcAft>
        <a:defRPr sz="2585" i="1">
          <a:solidFill>
            <a:srgbClr val="00579C"/>
          </a:solidFill>
          <a:latin typeface="Arial" charset="0"/>
        </a:defRPr>
      </a:lvl7pPr>
      <a:lvl8pPr marL="1266124" algn="l" defTabSz="883649" rtl="0" fontAlgn="base">
        <a:spcBef>
          <a:spcPct val="0"/>
        </a:spcBef>
        <a:spcAft>
          <a:spcPct val="0"/>
        </a:spcAft>
        <a:defRPr sz="2585" i="1">
          <a:solidFill>
            <a:srgbClr val="00579C"/>
          </a:solidFill>
          <a:latin typeface="Arial" charset="0"/>
        </a:defRPr>
      </a:lvl8pPr>
      <a:lvl9pPr marL="1688165" algn="l" defTabSz="883649" rtl="0" fontAlgn="base">
        <a:spcBef>
          <a:spcPct val="0"/>
        </a:spcBef>
        <a:spcAft>
          <a:spcPct val="0"/>
        </a:spcAft>
        <a:defRPr sz="2585" i="1">
          <a:solidFill>
            <a:srgbClr val="00579C"/>
          </a:solidFill>
          <a:latin typeface="Arial" charset="0"/>
        </a:defRPr>
      </a:lvl9pPr>
    </p:titleStyle>
    <p:bodyStyle>
      <a:lvl1pPr marL="331185" indent="-331185" algn="l" defTabSz="883649" rtl="0" eaLnBrk="0" fontAlgn="base" hangingPunct="0">
        <a:spcBef>
          <a:spcPct val="20000"/>
        </a:spcBef>
        <a:spcAft>
          <a:spcPct val="0"/>
        </a:spcAft>
        <a:buChar char="•"/>
        <a:defRPr sz="1292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18056" indent="-275499" algn="l" defTabSz="883649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1292">
          <a:solidFill>
            <a:schemeClr val="tx1">
              <a:lumMod val="75000"/>
              <a:lumOff val="25000"/>
            </a:schemeClr>
          </a:solidFill>
          <a:latin typeface="+mn-lt"/>
        </a:defRPr>
      </a:lvl2pPr>
      <a:lvl3pPr marL="1104928" indent="-221279" algn="l" defTabSz="883649" rtl="0" eaLnBrk="0" fontAlgn="base" hangingPunct="0">
        <a:spcBef>
          <a:spcPct val="20000"/>
        </a:spcBef>
        <a:spcAft>
          <a:spcPct val="0"/>
        </a:spcAft>
        <a:buFont typeface="Arial" charset="0"/>
        <a:buChar char="&gt;"/>
        <a:defRPr sz="1292">
          <a:solidFill>
            <a:schemeClr val="tx1">
              <a:lumMod val="75000"/>
              <a:lumOff val="25000"/>
            </a:schemeClr>
          </a:solidFill>
          <a:latin typeface="+mn-lt"/>
        </a:defRPr>
      </a:lvl3pPr>
      <a:lvl4pPr marL="1547485" indent="-221279" algn="l" defTabSz="883649" rtl="0" eaLnBrk="0" fontAlgn="base" hangingPunct="0">
        <a:spcBef>
          <a:spcPct val="20000"/>
        </a:spcBef>
        <a:spcAft>
          <a:spcPct val="0"/>
        </a:spcAft>
        <a:buChar char="–"/>
        <a:defRPr sz="1108">
          <a:solidFill>
            <a:schemeClr val="tx1">
              <a:lumMod val="75000"/>
              <a:lumOff val="25000"/>
            </a:schemeClr>
          </a:solidFill>
          <a:latin typeface="FS Severstal" pitchFamily="2" charset="0"/>
        </a:defRPr>
      </a:lvl4pPr>
      <a:lvl5pPr marL="1990042" indent="-221279" algn="l" defTabSz="883649" rtl="0" eaLnBrk="0" fontAlgn="base" hangingPunct="0">
        <a:spcBef>
          <a:spcPct val="20000"/>
        </a:spcBef>
        <a:spcAft>
          <a:spcPct val="0"/>
        </a:spcAft>
        <a:buChar char="•"/>
        <a:defRPr sz="1108">
          <a:solidFill>
            <a:schemeClr val="tx1">
              <a:lumMod val="75000"/>
              <a:lumOff val="25000"/>
            </a:schemeClr>
          </a:solidFill>
          <a:latin typeface="FS Severstal" pitchFamily="2" charset="0"/>
        </a:defRPr>
      </a:lvl5pPr>
      <a:lvl6pPr marL="2412083" indent="-221279" algn="l" defTabSz="883649" rtl="0" fontAlgn="base">
        <a:spcBef>
          <a:spcPct val="20000"/>
        </a:spcBef>
        <a:spcAft>
          <a:spcPct val="0"/>
        </a:spcAft>
        <a:buChar char="•"/>
        <a:defRPr sz="1108">
          <a:solidFill>
            <a:schemeClr val="bg2"/>
          </a:solidFill>
          <a:latin typeface="FS Severstal" pitchFamily="2" charset="0"/>
        </a:defRPr>
      </a:lvl6pPr>
      <a:lvl7pPr marL="2834125" indent="-221279" algn="l" defTabSz="883649" rtl="0" fontAlgn="base">
        <a:spcBef>
          <a:spcPct val="20000"/>
        </a:spcBef>
        <a:spcAft>
          <a:spcPct val="0"/>
        </a:spcAft>
        <a:buChar char="•"/>
        <a:defRPr sz="1108">
          <a:solidFill>
            <a:schemeClr val="bg2"/>
          </a:solidFill>
          <a:latin typeface="FS Severstal" pitchFamily="2" charset="0"/>
        </a:defRPr>
      </a:lvl7pPr>
      <a:lvl8pPr marL="3256166" indent="-221279" algn="l" defTabSz="883649" rtl="0" fontAlgn="base">
        <a:spcBef>
          <a:spcPct val="20000"/>
        </a:spcBef>
        <a:spcAft>
          <a:spcPct val="0"/>
        </a:spcAft>
        <a:buChar char="•"/>
        <a:defRPr sz="1108">
          <a:solidFill>
            <a:schemeClr val="bg2"/>
          </a:solidFill>
          <a:latin typeface="FS Severstal" pitchFamily="2" charset="0"/>
        </a:defRPr>
      </a:lvl8pPr>
      <a:lvl9pPr marL="3678207" indent="-221279" algn="l" defTabSz="883649" rtl="0" fontAlgn="base">
        <a:spcBef>
          <a:spcPct val="20000"/>
        </a:spcBef>
        <a:spcAft>
          <a:spcPct val="0"/>
        </a:spcAft>
        <a:buChar char="•"/>
        <a:defRPr sz="1108">
          <a:solidFill>
            <a:schemeClr val="bg2"/>
          </a:solidFill>
          <a:latin typeface="FS Severstal" pitchFamily="2" charset="0"/>
        </a:defRPr>
      </a:lvl9pPr>
    </p:bodyStyle>
    <p:otherStyle>
      <a:defPPr>
        <a:defRPr lang="ru-RU"/>
      </a:defPPr>
      <a:lvl1pPr marL="0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57">
          <p15:clr>
            <a:srgbClr val="F26B43"/>
          </p15:clr>
        </p15:guide>
        <p15:guide id="2" pos="7423">
          <p15:clr>
            <a:srgbClr val="F26B43"/>
          </p15:clr>
        </p15:guide>
        <p15:guide id="3" orient="horz" pos="3974">
          <p15:clr>
            <a:srgbClr val="F26B43"/>
          </p15:clr>
        </p15:guide>
        <p15:guide id="4" orient="horz" pos="686">
          <p15:clr>
            <a:srgbClr val="F26B43"/>
          </p15:clr>
        </p15:guide>
        <p15:guide id="5" orient="horz" pos="73">
          <p15:clr>
            <a:srgbClr val="F26B43"/>
          </p15:clr>
        </p15:guide>
        <p15:guide id="6" orient="horz" pos="424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7.xml"/><Relationship Id="rId7" Type="http://schemas.openxmlformats.org/officeDocument/2006/relationships/image" Target="../media/image9.jpe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5.xml"/><Relationship Id="rId9" Type="http://schemas.openxmlformats.org/officeDocument/2006/relationships/image" Target="NUL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image" Target="../media/image1.emf"/><Relationship Id="rId2" Type="http://schemas.openxmlformats.org/officeDocument/2006/relationships/tags" Target="../tags/tag23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1.bin"/><Relationship Id="rId5" Type="http://schemas.openxmlformats.org/officeDocument/2006/relationships/image" Target="../media/image22.jpeg"/><Relationship Id="rId4" Type="http://schemas.openxmlformats.org/officeDocument/2006/relationships/slideLayout" Target="../slideLayouts/slideLayout24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tags" Target="../tags/tag26.xml"/><Relationship Id="rId7" Type="http://schemas.openxmlformats.org/officeDocument/2006/relationships/image" Target="../media/image23.png"/><Relationship Id="rId2" Type="http://schemas.openxmlformats.org/officeDocument/2006/relationships/tags" Target="../tags/tag25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11" Type="http://schemas.openxmlformats.org/officeDocument/2006/relationships/image" Target="../media/image27.png"/><Relationship Id="rId5" Type="http://schemas.openxmlformats.org/officeDocument/2006/relationships/oleObject" Target="../embeddings/oleObject12.bin"/><Relationship Id="rId10" Type="http://schemas.openxmlformats.org/officeDocument/2006/relationships/image" Target="../media/image26.png"/><Relationship Id="rId4" Type="http://schemas.openxmlformats.org/officeDocument/2006/relationships/slideLayout" Target="../slideLayouts/slideLayout5.xml"/><Relationship Id="rId9" Type="http://schemas.openxmlformats.org/officeDocument/2006/relationships/image" Target="../media/image25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2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11.jpeg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12.jpeg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2" Type="http://schemas.openxmlformats.org/officeDocument/2006/relationships/tags" Target="../tags/tag12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14.jpeg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2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tags" Target="../tags/tag16.xml"/><Relationship Id="rId7" Type="http://schemas.openxmlformats.org/officeDocument/2006/relationships/image" Target="../media/image15.jpg"/><Relationship Id="rId2" Type="http://schemas.openxmlformats.org/officeDocument/2006/relationships/tags" Target="../tags/tag15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11" Type="http://schemas.openxmlformats.org/officeDocument/2006/relationships/image" Target="../media/image22.svg"/><Relationship Id="rId5" Type="http://schemas.openxmlformats.org/officeDocument/2006/relationships/oleObject" Target="../embeddings/oleObject10.bin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5.xml"/><Relationship Id="rId9" Type="http://schemas.openxmlformats.org/officeDocument/2006/relationships/image" Target="../media/image1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image" Target="../media/image18.JPG"/><Relationship Id="rId2" Type="http://schemas.openxmlformats.org/officeDocument/2006/relationships/tags" Target="../tags/tag17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24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.xml"/><Relationship Id="rId7" Type="http://schemas.openxmlformats.org/officeDocument/2006/relationships/oleObject" Target="../embeddings/oleObject11.bin"/><Relationship Id="rId2" Type="http://schemas.openxmlformats.org/officeDocument/2006/relationships/tags" Target="../tags/tag19.xml"/><Relationship Id="rId1" Type="http://schemas.openxmlformats.org/officeDocument/2006/relationships/vmlDrawing" Target="../drawings/vmlDrawing12.vml"/><Relationship Id="rId6" Type="http://schemas.openxmlformats.org/officeDocument/2006/relationships/slideLayout" Target="../slideLayouts/slideLayout24.xml"/><Relationship Id="rId5" Type="http://schemas.openxmlformats.org/officeDocument/2006/relationships/video" Target="../media/media1.mp4"/><Relationship Id="rId10" Type="http://schemas.openxmlformats.org/officeDocument/2006/relationships/image" Target="../media/image20.png"/><Relationship Id="rId4" Type="http://schemas.microsoft.com/office/2007/relationships/media" Target="../media/media1.mp4"/><Relationship Id="rId9" Type="http://schemas.openxmlformats.org/officeDocument/2006/relationships/image" Target="../media/image19.jp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2.xml"/><Relationship Id="rId7" Type="http://schemas.openxmlformats.org/officeDocument/2006/relationships/oleObject" Target="../embeddings/oleObject11.bin"/><Relationship Id="rId2" Type="http://schemas.openxmlformats.org/officeDocument/2006/relationships/tags" Target="../tags/tag21.xml"/><Relationship Id="rId1" Type="http://schemas.openxmlformats.org/officeDocument/2006/relationships/vmlDrawing" Target="../drawings/vmlDrawing13.vml"/><Relationship Id="rId6" Type="http://schemas.openxmlformats.org/officeDocument/2006/relationships/slideLayout" Target="../slideLayouts/slideLayout24.xml"/><Relationship Id="rId5" Type="http://schemas.openxmlformats.org/officeDocument/2006/relationships/video" Target="../media/media2.mp4"/><Relationship Id="rId4" Type="http://schemas.microsoft.com/office/2007/relationships/media" Target="../media/media2.mp4"/><Relationship Id="rId9" Type="http://schemas.openxmlformats.org/officeDocument/2006/relationships/image" Target="../media/image2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83" name="Слайд think-cell" r:id="rId5" imgW="395" imgH="396" progId="TCLayout.ActiveDocument.1">
                  <p:embed/>
                </p:oleObj>
              </mc:Choice>
              <mc:Fallback>
                <p:oleObj name="Слайд think-cell" r:id="rId5" imgW="395" imgH="396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>
            <a:gsLst>
              <a:gs pos="0">
                <a:schemeClr val="accent2"/>
              </a:gs>
              <a:gs pos="100000">
                <a:schemeClr val="accent2">
                  <a:lumMod val="75000"/>
                </a:scheme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 typeface="Wingdings" panose="05000000000000000000" pitchFamily="2" charset="2"/>
              <a:buNone/>
              <a:tabLst/>
              <a:defRPr/>
            </a:pPr>
            <a:endParaRPr kumimoji="0" lang="ru-RU" sz="2000" b="1" i="0" u="none" strike="noStrike" kern="1200" cap="none" spc="0" normalizeH="0" baseline="0" noProof="0" dirty="0" err="1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B9CAC58-44C9-4DC0-A6AF-0B4057C34224}" type="slidenum">
              <a:rPr kumimoji="0" lang="ru-RU" sz="105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ru-RU" sz="105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95000"/>
                  <a:lumOff val="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Номер слайда 4">
            <a:extLst>
              <a:ext uri="{FF2B5EF4-FFF2-40B4-BE49-F238E27FC236}">
                <a16:creationId xmlns:a16="http://schemas.microsoft.com/office/drawing/2014/main" id="{010C8B7F-4AC8-4AAC-952B-27C38927FC30}"/>
              </a:ext>
            </a:extLst>
          </p:cNvPr>
          <p:cNvSpPr txBox="1">
            <a:spLocks/>
          </p:cNvSpPr>
          <p:nvPr/>
        </p:nvSpPr>
        <p:spPr>
          <a:xfrm>
            <a:off x="10560496" y="6438496"/>
            <a:ext cx="1214424" cy="230864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457200" rtl="0" eaLnBrk="1" latinLnBrk="0" hangingPunct="1">
              <a:defRPr sz="105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B9CAC58-44C9-4DC0-A6AF-0B4057C34224}" type="slidenum">
              <a:rPr kumimoji="0" lang="ru-RU" sz="105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ru-RU" sz="10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208" y="1"/>
            <a:ext cx="12195208" cy="6857999"/>
          </a:xfrm>
          <a:prstGeom prst="rect">
            <a:avLst/>
          </a:prstGeom>
        </p:spPr>
      </p:pic>
      <p:grpSp>
        <p:nvGrpSpPr>
          <p:cNvPr id="20" name="Group 8">
            <a:extLst>
              <a:ext uri="{FF2B5EF4-FFF2-40B4-BE49-F238E27FC236}">
                <a16:creationId xmlns:a16="http://schemas.microsoft.com/office/drawing/2014/main" id="{10980D0E-6F5C-434D-B670-58701317A242}"/>
              </a:ext>
            </a:extLst>
          </p:cNvPr>
          <p:cNvGrpSpPr>
            <a:grpSpLocks noChangeAspect="1"/>
          </p:cNvGrpSpPr>
          <p:nvPr/>
        </p:nvGrpSpPr>
        <p:grpSpPr>
          <a:xfrm>
            <a:off x="10716016" y="350913"/>
            <a:ext cx="1138640" cy="356400"/>
            <a:chOff x="715963" y="1420813"/>
            <a:chExt cx="4321175" cy="1352550"/>
          </a:xfrm>
          <a:solidFill>
            <a:schemeClr val="bg1"/>
          </a:solidFill>
          <a:effectLst>
            <a:outerShdw blurRad="101600" dist="38100" dir="2700000" algn="tl" rotWithShape="0">
              <a:prstClr val="black">
                <a:alpha val="30000"/>
              </a:prstClr>
            </a:outerShdw>
          </a:effectLst>
        </p:grpSpPr>
        <p:sp>
          <p:nvSpPr>
            <p:cNvPr id="21" name="Freeform 1">
              <a:extLst>
                <a:ext uri="{FF2B5EF4-FFF2-40B4-BE49-F238E27FC236}">
                  <a16:creationId xmlns:a16="http://schemas.microsoft.com/office/drawing/2014/main" id="{C261610E-1F2A-4929-92E8-4CBB1CF192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01788" y="2143125"/>
              <a:ext cx="374650" cy="425450"/>
            </a:xfrm>
            <a:custGeom>
              <a:avLst/>
              <a:gdLst>
                <a:gd name="T0" fmla="*/ 482 w 1042"/>
                <a:gd name="T1" fmla="*/ 2 h 1180"/>
                <a:gd name="T2" fmla="*/ 687 w 1042"/>
                <a:gd name="T3" fmla="*/ 9 h 1180"/>
                <a:gd name="T4" fmla="*/ 992 w 1042"/>
                <a:gd name="T5" fmla="*/ 280 h 1180"/>
                <a:gd name="T6" fmla="*/ 792 w 1042"/>
                <a:gd name="T7" fmla="*/ 529 h 1180"/>
                <a:gd name="T8" fmla="*/ 792 w 1042"/>
                <a:gd name="T9" fmla="*/ 538 h 1180"/>
                <a:gd name="T10" fmla="*/ 1041 w 1042"/>
                <a:gd name="T11" fmla="*/ 818 h 1180"/>
                <a:gd name="T12" fmla="*/ 568 w 1042"/>
                <a:gd name="T13" fmla="*/ 1178 h 1180"/>
                <a:gd name="T14" fmla="*/ 405 w 1042"/>
                <a:gd name="T15" fmla="*/ 1179 h 1180"/>
                <a:gd name="T16" fmla="*/ 0 w 1042"/>
                <a:gd name="T17" fmla="*/ 1179 h 1180"/>
                <a:gd name="T18" fmla="*/ 0 w 1042"/>
                <a:gd name="T19" fmla="*/ 2 h 1180"/>
                <a:gd name="T20" fmla="*/ 482 w 1042"/>
                <a:gd name="T21" fmla="*/ 2 h 1180"/>
                <a:gd name="T22" fmla="*/ 338 w 1042"/>
                <a:gd name="T23" fmla="*/ 955 h 1180"/>
                <a:gd name="T24" fmla="*/ 475 w 1042"/>
                <a:gd name="T25" fmla="*/ 955 h 1180"/>
                <a:gd name="T26" fmla="*/ 706 w 1042"/>
                <a:gd name="T27" fmla="*/ 808 h 1180"/>
                <a:gd name="T28" fmla="*/ 459 w 1042"/>
                <a:gd name="T29" fmla="*/ 666 h 1180"/>
                <a:gd name="T30" fmla="*/ 338 w 1042"/>
                <a:gd name="T31" fmla="*/ 666 h 1180"/>
                <a:gd name="T32" fmla="*/ 338 w 1042"/>
                <a:gd name="T33" fmla="*/ 955 h 1180"/>
                <a:gd name="T34" fmla="*/ 345 w 1042"/>
                <a:gd name="T35" fmla="*/ 459 h 1180"/>
                <a:gd name="T36" fmla="*/ 447 w 1042"/>
                <a:gd name="T37" fmla="*/ 459 h 1180"/>
                <a:gd name="T38" fmla="*/ 671 w 1042"/>
                <a:gd name="T39" fmla="*/ 340 h 1180"/>
                <a:gd name="T40" fmla="*/ 482 w 1042"/>
                <a:gd name="T41" fmla="*/ 226 h 1180"/>
                <a:gd name="T42" fmla="*/ 344 w 1042"/>
                <a:gd name="T43" fmla="*/ 226 h 1180"/>
                <a:gd name="T44" fmla="*/ 344 w 1042"/>
                <a:gd name="T45" fmla="*/ 459 h 1180"/>
                <a:gd name="T46" fmla="*/ 345 w 1042"/>
                <a:gd name="T47" fmla="*/ 459 h 1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42" h="1180">
                  <a:moveTo>
                    <a:pt x="482" y="2"/>
                  </a:moveTo>
                  <a:cubicBezTo>
                    <a:pt x="539" y="1"/>
                    <a:pt x="621" y="0"/>
                    <a:pt x="687" y="9"/>
                  </a:cubicBezTo>
                  <a:cubicBezTo>
                    <a:pt x="838" y="29"/>
                    <a:pt x="992" y="96"/>
                    <a:pt x="992" y="280"/>
                  </a:cubicBezTo>
                  <a:cubicBezTo>
                    <a:pt x="992" y="433"/>
                    <a:pt x="901" y="506"/>
                    <a:pt x="792" y="529"/>
                  </a:cubicBezTo>
                  <a:lnTo>
                    <a:pt x="792" y="538"/>
                  </a:lnTo>
                  <a:cubicBezTo>
                    <a:pt x="950" y="566"/>
                    <a:pt x="1041" y="650"/>
                    <a:pt x="1041" y="818"/>
                  </a:cubicBezTo>
                  <a:cubicBezTo>
                    <a:pt x="1041" y="1092"/>
                    <a:pt x="780" y="1167"/>
                    <a:pt x="568" y="1178"/>
                  </a:cubicBezTo>
                  <a:cubicBezTo>
                    <a:pt x="516" y="1179"/>
                    <a:pt x="450" y="1179"/>
                    <a:pt x="405" y="1179"/>
                  </a:cubicBezTo>
                  <a:lnTo>
                    <a:pt x="0" y="1179"/>
                  </a:lnTo>
                  <a:lnTo>
                    <a:pt x="0" y="2"/>
                  </a:lnTo>
                  <a:lnTo>
                    <a:pt x="482" y="2"/>
                  </a:lnTo>
                  <a:close/>
                  <a:moveTo>
                    <a:pt x="338" y="955"/>
                  </a:moveTo>
                  <a:lnTo>
                    <a:pt x="475" y="955"/>
                  </a:lnTo>
                  <a:cubicBezTo>
                    <a:pt x="591" y="955"/>
                    <a:pt x="706" y="920"/>
                    <a:pt x="706" y="808"/>
                  </a:cubicBezTo>
                  <a:cubicBezTo>
                    <a:pt x="706" y="704"/>
                    <a:pt x="619" y="666"/>
                    <a:pt x="459" y="666"/>
                  </a:cubicBezTo>
                  <a:lnTo>
                    <a:pt x="338" y="666"/>
                  </a:lnTo>
                  <a:lnTo>
                    <a:pt x="338" y="955"/>
                  </a:lnTo>
                  <a:close/>
                  <a:moveTo>
                    <a:pt x="345" y="459"/>
                  </a:moveTo>
                  <a:lnTo>
                    <a:pt x="447" y="459"/>
                  </a:lnTo>
                  <a:cubicBezTo>
                    <a:pt x="587" y="459"/>
                    <a:pt x="671" y="431"/>
                    <a:pt x="671" y="340"/>
                  </a:cubicBezTo>
                  <a:cubicBezTo>
                    <a:pt x="671" y="268"/>
                    <a:pt x="619" y="226"/>
                    <a:pt x="482" y="226"/>
                  </a:cubicBezTo>
                  <a:lnTo>
                    <a:pt x="344" y="226"/>
                  </a:lnTo>
                  <a:lnTo>
                    <a:pt x="344" y="459"/>
                  </a:lnTo>
                  <a:lnTo>
                    <a:pt x="345" y="459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" name="Freeform 2">
              <a:extLst>
                <a:ext uri="{FF2B5EF4-FFF2-40B4-BE49-F238E27FC236}">
                  <a16:creationId xmlns:a16="http://schemas.microsoft.com/office/drawing/2014/main" id="{FAD99656-C50F-410D-A9C0-A22CD1D37E2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5963" y="1971675"/>
              <a:ext cx="3636962" cy="801688"/>
            </a:xfrm>
            <a:custGeom>
              <a:avLst/>
              <a:gdLst>
                <a:gd name="T0" fmla="*/ 0 w 10102"/>
                <a:gd name="T1" fmla="*/ 847 h 2228"/>
                <a:gd name="T2" fmla="*/ 1235 w 10102"/>
                <a:gd name="T3" fmla="*/ 75 h 2228"/>
                <a:gd name="T4" fmla="*/ 874 w 10102"/>
                <a:gd name="T5" fmla="*/ 275 h 2228"/>
                <a:gd name="T6" fmla="*/ 841 w 10102"/>
                <a:gd name="T7" fmla="*/ 1388 h 2228"/>
                <a:gd name="T8" fmla="*/ 1293 w 10102"/>
                <a:gd name="T9" fmla="*/ 1528 h 2228"/>
                <a:gd name="T10" fmla="*/ 6541 w 10102"/>
                <a:gd name="T11" fmla="*/ 1677 h 2228"/>
                <a:gd name="T12" fmla="*/ 6569 w 10102"/>
                <a:gd name="T13" fmla="*/ 454 h 2228"/>
                <a:gd name="T14" fmla="*/ 6863 w 10102"/>
                <a:gd name="T15" fmla="*/ 787 h 2228"/>
                <a:gd name="T16" fmla="*/ 6306 w 10102"/>
                <a:gd name="T17" fmla="*/ 1053 h 2228"/>
                <a:gd name="T18" fmla="*/ 6842 w 10102"/>
                <a:gd name="T19" fmla="*/ 1348 h 2228"/>
                <a:gd name="T20" fmla="*/ 6541 w 10102"/>
                <a:gd name="T21" fmla="*/ 1677 h 2228"/>
                <a:gd name="T22" fmla="*/ 7585 w 10102"/>
                <a:gd name="T23" fmla="*/ 1654 h 2228"/>
                <a:gd name="T24" fmla="*/ 7250 w 10102"/>
                <a:gd name="T25" fmla="*/ 743 h 2228"/>
                <a:gd name="T26" fmla="*/ 6924 w 10102"/>
                <a:gd name="T27" fmla="*/ 477 h 2228"/>
                <a:gd name="T28" fmla="*/ 7870 w 10102"/>
                <a:gd name="T29" fmla="*/ 743 h 2228"/>
                <a:gd name="T30" fmla="*/ 9197 w 10102"/>
                <a:gd name="T31" fmla="*/ 614 h 2228"/>
                <a:gd name="T32" fmla="*/ 8951 w 10102"/>
                <a:gd name="T33" fmla="*/ 1428 h 2228"/>
                <a:gd name="T34" fmla="*/ 9321 w 10102"/>
                <a:gd name="T35" fmla="*/ 1560 h 2228"/>
                <a:gd name="T36" fmla="*/ 9503 w 10102"/>
                <a:gd name="T37" fmla="*/ 801 h 2228"/>
                <a:gd name="T38" fmla="*/ 9765 w 10102"/>
                <a:gd name="T39" fmla="*/ 743 h 2228"/>
                <a:gd name="T40" fmla="*/ 10101 w 10102"/>
                <a:gd name="T41" fmla="*/ 1654 h 2228"/>
                <a:gd name="T42" fmla="*/ 9197 w 10102"/>
                <a:gd name="T43" fmla="*/ 477 h 2228"/>
                <a:gd name="T44" fmla="*/ 1904 w 10102"/>
                <a:gd name="T45" fmla="*/ 1414 h 2228"/>
                <a:gd name="T46" fmla="*/ 2311 w 10102"/>
                <a:gd name="T47" fmla="*/ 1542 h 2228"/>
                <a:gd name="T48" fmla="*/ 1256 w 10102"/>
                <a:gd name="T49" fmla="*/ 1069 h 2228"/>
                <a:gd name="T50" fmla="*/ 2351 w 10102"/>
                <a:gd name="T51" fmla="*/ 1055 h 2228"/>
                <a:gd name="T52" fmla="*/ 1591 w 10102"/>
                <a:gd name="T53" fmla="*/ 1157 h 2228"/>
                <a:gd name="T54" fmla="*/ 1796 w 10102"/>
                <a:gd name="T55" fmla="*/ 698 h 2228"/>
                <a:gd name="T56" fmla="*/ 2008 w 10102"/>
                <a:gd name="T57" fmla="*/ 927 h 2228"/>
                <a:gd name="T58" fmla="*/ 4215 w 10102"/>
                <a:gd name="T59" fmla="*/ 1414 h 2228"/>
                <a:gd name="T60" fmla="*/ 4623 w 10102"/>
                <a:gd name="T61" fmla="*/ 1542 h 2228"/>
                <a:gd name="T62" fmla="*/ 3567 w 10102"/>
                <a:gd name="T63" fmla="*/ 1069 h 2228"/>
                <a:gd name="T64" fmla="*/ 4662 w 10102"/>
                <a:gd name="T65" fmla="*/ 1055 h 2228"/>
                <a:gd name="T66" fmla="*/ 3903 w 10102"/>
                <a:gd name="T67" fmla="*/ 1157 h 2228"/>
                <a:gd name="T68" fmla="*/ 4108 w 10102"/>
                <a:gd name="T69" fmla="*/ 698 h 2228"/>
                <a:gd name="T70" fmla="*/ 4320 w 10102"/>
                <a:gd name="T71" fmla="*/ 927 h 2228"/>
                <a:gd name="T72" fmla="*/ 8596 w 10102"/>
                <a:gd name="T73" fmla="*/ 1549 h 2228"/>
                <a:gd name="T74" fmla="*/ 7881 w 10102"/>
                <a:gd name="T75" fmla="*/ 1295 h 2228"/>
                <a:gd name="T76" fmla="*/ 8578 w 10102"/>
                <a:gd name="T77" fmla="*/ 901 h 2228"/>
                <a:gd name="T78" fmla="*/ 8361 w 10102"/>
                <a:gd name="T79" fmla="*/ 705 h 2228"/>
                <a:gd name="T80" fmla="*/ 7960 w 10102"/>
                <a:gd name="T81" fmla="*/ 582 h 2228"/>
                <a:gd name="T82" fmla="*/ 8911 w 10102"/>
                <a:gd name="T83" fmla="*/ 887 h 2228"/>
                <a:gd name="T84" fmla="*/ 8650 w 10102"/>
                <a:gd name="T85" fmla="*/ 1654 h 2228"/>
                <a:gd name="T86" fmla="*/ 8429 w 10102"/>
                <a:gd name="T87" fmla="*/ 1127 h 2228"/>
                <a:gd name="T88" fmla="*/ 8394 w 10102"/>
                <a:gd name="T89" fmla="*/ 1416 h 2228"/>
                <a:gd name="T90" fmla="*/ 8575 w 10102"/>
                <a:gd name="T91" fmla="*/ 1122 h 2228"/>
                <a:gd name="T92" fmla="*/ 5105 w 10102"/>
                <a:gd name="T93" fmla="*/ 1628 h 2228"/>
                <a:gd name="T94" fmla="*/ 4769 w 10102"/>
                <a:gd name="T95" fmla="*/ 2227 h 2228"/>
                <a:gd name="T96" fmla="*/ 5051 w 10102"/>
                <a:gd name="T97" fmla="*/ 477 h 2228"/>
                <a:gd name="T98" fmla="*/ 5406 w 10102"/>
                <a:gd name="T99" fmla="*/ 454 h 2228"/>
                <a:gd name="T100" fmla="*/ 5331 w 10102"/>
                <a:gd name="T101" fmla="*/ 1677 h 2228"/>
                <a:gd name="T102" fmla="*/ 5105 w 10102"/>
                <a:gd name="T103" fmla="*/ 831 h 2228"/>
                <a:gd name="T104" fmla="*/ 5249 w 10102"/>
                <a:gd name="T105" fmla="*/ 1435 h 2228"/>
                <a:gd name="T106" fmla="*/ 5338 w 10102"/>
                <a:gd name="T107" fmla="*/ 698 h 2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0102" h="2228">
                  <a:moveTo>
                    <a:pt x="787" y="1677"/>
                  </a:moveTo>
                  <a:cubicBezTo>
                    <a:pt x="277" y="1677"/>
                    <a:pt x="0" y="1309"/>
                    <a:pt x="0" y="847"/>
                  </a:cubicBezTo>
                  <a:cubicBezTo>
                    <a:pt x="0" y="381"/>
                    <a:pt x="326" y="0"/>
                    <a:pt x="862" y="0"/>
                  </a:cubicBezTo>
                  <a:cubicBezTo>
                    <a:pt x="1004" y="0"/>
                    <a:pt x="1127" y="19"/>
                    <a:pt x="1235" y="75"/>
                  </a:cubicBezTo>
                  <a:lnTo>
                    <a:pt x="1235" y="374"/>
                  </a:lnTo>
                  <a:cubicBezTo>
                    <a:pt x="1093" y="292"/>
                    <a:pt x="978" y="275"/>
                    <a:pt x="874" y="275"/>
                  </a:cubicBezTo>
                  <a:cubicBezTo>
                    <a:pt x="510" y="275"/>
                    <a:pt x="368" y="542"/>
                    <a:pt x="368" y="824"/>
                  </a:cubicBezTo>
                  <a:cubicBezTo>
                    <a:pt x="368" y="1139"/>
                    <a:pt x="545" y="1388"/>
                    <a:pt x="841" y="1388"/>
                  </a:cubicBezTo>
                  <a:cubicBezTo>
                    <a:pt x="972" y="1388"/>
                    <a:pt x="1079" y="1358"/>
                    <a:pt x="1204" y="1290"/>
                  </a:cubicBezTo>
                  <a:lnTo>
                    <a:pt x="1293" y="1528"/>
                  </a:lnTo>
                  <a:cubicBezTo>
                    <a:pt x="1104" y="1647"/>
                    <a:pt x="944" y="1677"/>
                    <a:pt x="787" y="1677"/>
                  </a:cubicBezTo>
                  <a:close/>
                  <a:moveTo>
                    <a:pt x="6541" y="1677"/>
                  </a:moveTo>
                  <a:cubicBezTo>
                    <a:pt x="6164" y="1677"/>
                    <a:pt x="5972" y="1400"/>
                    <a:pt x="5972" y="1069"/>
                  </a:cubicBezTo>
                  <a:cubicBezTo>
                    <a:pt x="5972" y="698"/>
                    <a:pt x="6227" y="454"/>
                    <a:pt x="6569" y="454"/>
                  </a:cubicBezTo>
                  <a:cubicBezTo>
                    <a:pt x="6721" y="454"/>
                    <a:pt x="6800" y="484"/>
                    <a:pt x="6863" y="521"/>
                  </a:cubicBezTo>
                  <a:lnTo>
                    <a:pt x="6863" y="787"/>
                  </a:lnTo>
                  <a:cubicBezTo>
                    <a:pt x="6779" y="726"/>
                    <a:pt x="6712" y="705"/>
                    <a:pt x="6618" y="705"/>
                  </a:cubicBezTo>
                  <a:cubicBezTo>
                    <a:pt x="6425" y="705"/>
                    <a:pt x="6306" y="847"/>
                    <a:pt x="6306" y="1053"/>
                  </a:cubicBezTo>
                  <a:cubicBezTo>
                    <a:pt x="6306" y="1236"/>
                    <a:pt x="6397" y="1416"/>
                    <a:pt x="6614" y="1416"/>
                  </a:cubicBezTo>
                  <a:cubicBezTo>
                    <a:pt x="6674" y="1416"/>
                    <a:pt x="6756" y="1393"/>
                    <a:pt x="6842" y="1348"/>
                  </a:cubicBezTo>
                  <a:lnTo>
                    <a:pt x="6921" y="1565"/>
                  </a:lnTo>
                  <a:cubicBezTo>
                    <a:pt x="6823" y="1630"/>
                    <a:pt x="6660" y="1677"/>
                    <a:pt x="6541" y="1677"/>
                  </a:cubicBezTo>
                  <a:close/>
                  <a:moveTo>
                    <a:pt x="7585" y="743"/>
                  </a:moveTo>
                  <a:lnTo>
                    <a:pt x="7585" y="1654"/>
                  </a:lnTo>
                  <a:lnTo>
                    <a:pt x="7250" y="1654"/>
                  </a:lnTo>
                  <a:lnTo>
                    <a:pt x="7250" y="743"/>
                  </a:lnTo>
                  <a:lnTo>
                    <a:pt x="6924" y="743"/>
                  </a:lnTo>
                  <a:lnTo>
                    <a:pt x="6924" y="477"/>
                  </a:lnTo>
                  <a:lnTo>
                    <a:pt x="7953" y="477"/>
                  </a:lnTo>
                  <a:lnTo>
                    <a:pt x="7870" y="743"/>
                  </a:lnTo>
                  <a:lnTo>
                    <a:pt x="7585" y="743"/>
                  </a:lnTo>
                  <a:close/>
                  <a:moveTo>
                    <a:pt x="9197" y="614"/>
                  </a:moveTo>
                  <a:cubicBezTo>
                    <a:pt x="9197" y="1024"/>
                    <a:pt x="9181" y="1239"/>
                    <a:pt x="9107" y="1337"/>
                  </a:cubicBezTo>
                  <a:cubicBezTo>
                    <a:pt x="9069" y="1386"/>
                    <a:pt x="9011" y="1418"/>
                    <a:pt x="8951" y="1428"/>
                  </a:cubicBezTo>
                  <a:lnTo>
                    <a:pt x="9044" y="1677"/>
                  </a:lnTo>
                  <a:cubicBezTo>
                    <a:pt x="9121" y="1674"/>
                    <a:pt x="9239" y="1642"/>
                    <a:pt x="9321" y="1560"/>
                  </a:cubicBezTo>
                  <a:cubicBezTo>
                    <a:pt x="9428" y="1456"/>
                    <a:pt x="9463" y="1323"/>
                    <a:pt x="9479" y="1183"/>
                  </a:cubicBezTo>
                  <a:cubicBezTo>
                    <a:pt x="9494" y="1064"/>
                    <a:pt x="9503" y="924"/>
                    <a:pt x="9503" y="801"/>
                  </a:cubicBezTo>
                  <a:lnTo>
                    <a:pt x="9503" y="743"/>
                  </a:lnTo>
                  <a:lnTo>
                    <a:pt x="9765" y="743"/>
                  </a:lnTo>
                  <a:lnTo>
                    <a:pt x="9765" y="1654"/>
                  </a:lnTo>
                  <a:lnTo>
                    <a:pt x="10101" y="1654"/>
                  </a:lnTo>
                  <a:lnTo>
                    <a:pt x="10101" y="477"/>
                  </a:lnTo>
                  <a:lnTo>
                    <a:pt x="9197" y="477"/>
                  </a:lnTo>
                  <a:lnTo>
                    <a:pt x="9197" y="614"/>
                  </a:lnTo>
                  <a:close/>
                  <a:moveTo>
                    <a:pt x="1904" y="1414"/>
                  </a:moveTo>
                  <a:cubicBezTo>
                    <a:pt x="2018" y="1414"/>
                    <a:pt x="2104" y="1393"/>
                    <a:pt x="2237" y="1330"/>
                  </a:cubicBezTo>
                  <a:lnTo>
                    <a:pt x="2311" y="1542"/>
                  </a:lnTo>
                  <a:cubicBezTo>
                    <a:pt x="2148" y="1644"/>
                    <a:pt x="1990" y="1677"/>
                    <a:pt x="1848" y="1677"/>
                  </a:cubicBezTo>
                  <a:cubicBezTo>
                    <a:pt x="1428" y="1677"/>
                    <a:pt x="1256" y="1379"/>
                    <a:pt x="1256" y="1069"/>
                  </a:cubicBezTo>
                  <a:cubicBezTo>
                    <a:pt x="1256" y="738"/>
                    <a:pt x="1454" y="454"/>
                    <a:pt x="1805" y="454"/>
                  </a:cubicBezTo>
                  <a:cubicBezTo>
                    <a:pt x="2127" y="454"/>
                    <a:pt x="2351" y="691"/>
                    <a:pt x="2351" y="1055"/>
                  </a:cubicBezTo>
                  <a:lnTo>
                    <a:pt x="2351" y="1157"/>
                  </a:lnTo>
                  <a:lnTo>
                    <a:pt x="1591" y="1157"/>
                  </a:lnTo>
                  <a:cubicBezTo>
                    <a:pt x="1598" y="1316"/>
                    <a:pt x="1748" y="1414"/>
                    <a:pt x="1904" y="1414"/>
                  </a:cubicBezTo>
                  <a:close/>
                  <a:moveTo>
                    <a:pt x="1796" y="698"/>
                  </a:moveTo>
                  <a:cubicBezTo>
                    <a:pt x="1661" y="698"/>
                    <a:pt x="1584" y="819"/>
                    <a:pt x="1584" y="927"/>
                  </a:cubicBezTo>
                  <a:lnTo>
                    <a:pt x="2008" y="927"/>
                  </a:lnTo>
                  <a:cubicBezTo>
                    <a:pt x="2001" y="815"/>
                    <a:pt x="1938" y="698"/>
                    <a:pt x="1796" y="698"/>
                  </a:cubicBezTo>
                  <a:close/>
                  <a:moveTo>
                    <a:pt x="4215" y="1414"/>
                  </a:moveTo>
                  <a:cubicBezTo>
                    <a:pt x="4329" y="1414"/>
                    <a:pt x="4415" y="1393"/>
                    <a:pt x="4548" y="1330"/>
                  </a:cubicBezTo>
                  <a:lnTo>
                    <a:pt x="4623" y="1542"/>
                  </a:lnTo>
                  <a:cubicBezTo>
                    <a:pt x="4459" y="1644"/>
                    <a:pt x="4301" y="1677"/>
                    <a:pt x="4159" y="1677"/>
                  </a:cubicBezTo>
                  <a:cubicBezTo>
                    <a:pt x="3740" y="1677"/>
                    <a:pt x="3567" y="1379"/>
                    <a:pt x="3567" y="1069"/>
                  </a:cubicBezTo>
                  <a:cubicBezTo>
                    <a:pt x="3567" y="738"/>
                    <a:pt x="3765" y="454"/>
                    <a:pt x="4117" y="454"/>
                  </a:cubicBezTo>
                  <a:cubicBezTo>
                    <a:pt x="4438" y="454"/>
                    <a:pt x="4662" y="691"/>
                    <a:pt x="4662" y="1055"/>
                  </a:cubicBezTo>
                  <a:lnTo>
                    <a:pt x="4662" y="1157"/>
                  </a:lnTo>
                  <a:lnTo>
                    <a:pt x="3903" y="1157"/>
                  </a:lnTo>
                  <a:cubicBezTo>
                    <a:pt x="3910" y="1316"/>
                    <a:pt x="4059" y="1414"/>
                    <a:pt x="4215" y="1414"/>
                  </a:cubicBezTo>
                  <a:close/>
                  <a:moveTo>
                    <a:pt x="4108" y="698"/>
                  </a:moveTo>
                  <a:cubicBezTo>
                    <a:pt x="3973" y="698"/>
                    <a:pt x="3895" y="819"/>
                    <a:pt x="3895" y="927"/>
                  </a:cubicBezTo>
                  <a:lnTo>
                    <a:pt x="4320" y="927"/>
                  </a:lnTo>
                  <a:cubicBezTo>
                    <a:pt x="4313" y="815"/>
                    <a:pt x="4250" y="698"/>
                    <a:pt x="4108" y="698"/>
                  </a:cubicBezTo>
                  <a:close/>
                  <a:moveTo>
                    <a:pt x="8596" y="1549"/>
                  </a:moveTo>
                  <a:cubicBezTo>
                    <a:pt x="8517" y="1621"/>
                    <a:pt x="8424" y="1677"/>
                    <a:pt x="8273" y="1677"/>
                  </a:cubicBezTo>
                  <a:cubicBezTo>
                    <a:pt x="8049" y="1677"/>
                    <a:pt x="7881" y="1528"/>
                    <a:pt x="7881" y="1295"/>
                  </a:cubicBezTo>
                  <a:cubicBezTo>
                    <a:pt x="7881" y="1045"/>
                    <a:pt x="8082" y="917"/>
                    <a:pt x="8380" y="908"/>
                  </a:cubicBezTo>
                  <a:lnTo>
                    <a:pt x="8578" y="901"/>
                  </a:lnTo>
                  <a:lnTo>
                    <a:pt x="8578" y="878"/>
                  </a:lnTo>
                  <a:cubicBezTo>
                    <a:pt x="8578" y="754"/>
                    <a:pt x="8478" y="705"/>
                    <a:pt x="8361" y="705"/>
                  </a:cubicBezTo>
                  <a:cubicBezTo>
                    <a:pt x="8242" y="705"/>
                    <a:pt x="8140" y="740"/>
                    <a:pt x="8063" y="787"/>
                  </a:cubicBezTo>
                  <a:lnTo>
                    <a:pt x="7960" y="582"/>
                  </a:lnTo>
                  <a:cubicBezTo>
                    <a:pt x="8121" y="477"/>
                    <a:pt x="8275" y="454"/>
                    <a:pt x="8436" y="454"/>
                  </a:cubicBezTo>
                  <a:cubicBezTo>
                    <a:pt x="8746" y="454"/>
                    <a:pt x="8911" y="577"/>
                    <a:pt x="8911" y="887"/>
                  </a:cubicBezTo>
                  <a:lnTo>
                    <a:pt x="8911" y="1654"/>
                  </a:lnTo>
                  <a:lnTo>
                    <a:pt x="8650" y="1654"/>
                  </a:lnTo>
                  <a:lnTo>
                    <a:pt x="8596" y="1549"/>
                  </a:lnTo>
                  <a:close/>
                  <a:moveTo>
                    <a:pt x="8429" y="1127"/>
                  </a:moveTo>
                  <a:cubicBezTo>
                    <a:pt x="8284" y="1132"/>
                    <a:pt x="8217" y="1181"/>
                    <a:pt x="8217" y="1269"/>
                  </a:cubicBezTo>
                  <a:cubicBezTo>
                    <a:pt x="8217" y="1360"/>
                    <a:pt x="8279" y="1416"/>
                    <a:pt x="8394" y="1416"/>
                  </a:cubicBezTo>
                  <a:cubicBezTo>
                    <a:pt x="8482" y="1416"/>
                    <a:pt x="8545" y="1388"/>
                    <a:pt x="8575" y="1362"/>
                  </a:cubicBezTo>
                  <a:lnTo>
                    <a:pt x="8575" y="1122"/>
                  </a:lnTo>
                  <a:lnTo>
                    <a:pt x="8429" y="1127"/>
                  </a:lnTo>
                  <a:close/>
                  <a:moveTo>
                    <a:pt x="5105" y="1628"/>
                  </a:moveTo>
                  <a:lnTo>
                    <a:pt x="5105" y="2124"/>
                  </a:lnTo>
                  <a:lnTo>
                    <a:pt x="4769" y="2227"/>
                  </a:lnTo>
                  <a:lnTo>
                    <a:pt x="4769" y="477"/>
                  </a:lnTo>
                  <a:lnTo>
                    <a:pt x="5051" y="477"/>
                  </a:lnTo>
                  <a:lnTo>
                    <a:pt x="5089" y="584"/>
                  </a:lnTo>
                  <a:cubicBezTo>
                    <a:pt x="5175" y="517"/>
                    <a:pt x="5275" y="454"/>
                    <a:pt x="5406" y="454"/>
                  </a:cubicBezTo>
                  <a:cubicBezTo>
                    <a:pt x="5676" y="454"/>
                    <a:pt x="5888" y="659"/>
                    <a:pt x="5888" y="1031"/>
                  </a:cubicBezTo>
                  <a:cubicBezTo>
                    <a:pt x="5888" y="1381"/>
                    <a:pt x="5678" y="1677"/>
                    <a:pt x="5331" y="1677"/>
                  </a:cubicBezTo>
                  <a:cubicBezTo>
                    <a:pt x="5245" y="1677"/>
                    <a:pt x="5165" y="1660"/>
                    <a:pt x="5105" y="1628"/>
                  </a:cubicBezTo>
                  <a:close/>
                  <a:moveTo>
                    <a:pt x="5105" y="831"/>
                  </a:moveTo>
                  <a:lnTo>
                    <a:pt x="5105" y="1388"/>
                  </a:lnTo>
                  <a:cubicBezTo>
                    <a:pt x="5142" y="1414"/>
                    <a:pt x="5189" y="1435"/>
                    <a:pt x="5249" y="1435"/>
                  </a:cubicBezTo>
                  <a:cubicBezTo>
                    <a:pt x="5478" y="1435"/>
                    <a:pt x="5552" y="1227"/>
                    <a:pt x="5552" y="1027"/>
                  </a:cubicBezTo>
                  <a:cubicBezTo>
                    <a:pt x="5552" y="784"/>
                    <a:pt x="5473" y="698"/>
                    <a:pt x="5338" y="698"/>
                  </a:cubicBezTo>
                  <a:cubicBezTo>
                    <a:pt x="5249" y="698"/>
                    <a:pt x="5145" y="770"/>
                    <a:pt x="5105" y="831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Freeform 3">
              <a:extLst>
                <a:ext uri="{FF2B5EF4-FFF2-40B4-BE49-F238E27FC236}">
                  <a16:creationId xmlns:a16="http://schemas.microsoft.com/office/drawing/2014/main" id="{8705A463-1B5B-4B4E-9E5A-486D2B7316A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02138" y="2125663"/>
              <a:ext cx="371475" cy="441325"/>
            </a:xfrm>
            <a:custGeom>
              <a:avLst/>
              <a:gdLst>
                <a:gd name="T0" fmla="*/ 336 w 1033"/>
                <a:gd name="T1" fmla="*/ 433 h 1228"/>
                <a:gd name="T2" fmla="*/ 336 w 1033"/>
                <a:gd name="T3" fmla="*/ 0 h 1228"/>
                <a:gd name="T4" fmla="*/ 0 w 1033"/>
                <a:gd name="T5" fmla="*/ 102 h 1228"/>
                <a:gd name="T6" fmla="*/ 0 w 1033"/>
                <a:gd name="T7" fmla="*/ 1227 h 1228"/>
                <a:gd name="T8" fmla="*/ 429 w 1033"/>
                <a:gd name="T9" fmla="*/ 1227 h 1228"/>
                <a:gd name="T10" fmla="*/ 1032 w 1033"/>
                <a:gd name="T11" fmla="*/ 820 h 1228"/>
                <a:gd name="T12" fmla="*/ 508 w 1033"/>
                <a:gd name="T13" fmla="*/ 433 h 1228"/>
                <a:gd name="T14" fmla="*/ 336 w 1033"/>
                <a:gd name="T15" fmla="*/ 433 h 1228"/>
                <a:gd name="T16" fmla="*/ 336 w 1033"/>
                <a:gd name="T17" fmla="*/ 666 h 1228"/>
                <a:gd name="T18" fmla="*/ 447 w 1033"/>
                <a:gd name="T19" fmla="*/ 666 h 1228"/>
                <a:gd name="T20" fmla="*/ 697 w 1033"/>
                <a:gd name="T21" fmla="*/ 824 h 1228"/>
                <a:gd name="T22" fmla="*/ 452 w 1033"/>
                <a:gd name="T23" fmla="*/ 994 h 1228"/>
                <a:gd name="T24" fmla="*/ 336 w 1033"/>
                <a:gd name="T25" fmla="*/ 994 h 1228"/>
                <a:gd name="T26" fmla="*/ 336 w 1033"/>
                <a:gd name="T27" fmla="*/ 666 h 1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33" h="1228">
                  <a:moveTo>
                    <a:pt x="336" y="433"/>
                  </a:moveTo>
                  <a:lnTo>
                    <a:pt x="336" y="0"/>
                  </a:lnTo>
                  <a:lnTo>
                    <a:pt x="0" y="102"/>
                  </a:lnTo>
                  <a:lnTo>
                    <a:pt x="0" y="1227"/>
                  </a:lnTo>
                  <a:lnTo>
                    <a:pt x="429" y="1227"/>
                  </a:lnTo>
                  <a:cubicBezTo>
                    <a:pt x="741" y="1227"/>
                    <a:pt x="1032" y="1144"/>
                    <a:pt x="1032" y="820"/>
                  </a:cubicBezTo>
                  <a:cubicBezTo>
                    <a:pt x="1032" y="545"/>
                    <a:pt x="797" y="433"/>
                    <a:pt x="508" y="433"/>
                  </a:cubicBezTo>
                  <a:lnTo>
                    <a:pt x="336" y="433"/>
                  </a:lnTo>
                  <a:close/>
                  <a:moveTo>
                    <a:pt x="336" y="666"/>
                  </a:moveTo>
                  <a:lnTo>
                    <a:pt x="447" y="666"/>
                  </a:lnTo>
                  <a:cubicBezTo>
                    <a:pt x="566" y="666"/>
                    <a:pt x="697" y="685"/>
                    <a:pt x="697" y="824"/>
                  </a:cubicBezTo>
                  <a:cubicBezTo>
                    <a:pt x="697" y="962"/>
                    <a:pt x="585" y="994"/>
                    <a:pt x="452" y="994"/>
                  </a:cubicBezTo>
                  <a:lnTo>
                    <a:pt x="336" y="994"/>
                  </a:lnTo>
                  <a:lnTo>
                    <a:pt x="336" y="666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" name="Freeform 4">
              <a:extLst>
                <a:ext uri="{FF2B5EF4-FFF2-40B4-BE49-F238E27FC236}">
                  <a16:creationId xmlns:a16="http://schemas.microsoft.com/office/drawing/2014/main" id="{EB7E704A-8A99-4C21-9E39-EE05EEC7F2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18063" y="1420813"/>
              <a:ext cx="219075" cy="454025"/>
            </a:xfrm>
            <a:custGeom>
              <a:avLst/>
              <a:gdLst>
                <a:gd name="T0" fmla="*/ 389 w 609"/>
                <a:gd name="T1" fmla="*/ 1240 h 1262"/>
                <a:gd name="T2" fmla="*/ 450 w 609"/>
                <a:gd name="T3" fmla="*/ 1208 h 1262"/>
                <a:gd name="T4" fmla="*/ 534 w 609"/>
                <a:gd name="T5" fmla="*/ 944 h 1262"/>
                <a:gd name="T6" fmla="*/ 534 w 609"/>
                <a:gd name="T7" fmla="*/ 944 h 1262"/>
                <a:gd name="T8" fmla="*/ 598 w 609"/>
                <a:gd name="T9" fmla="*/ 594 h 1262"/>
                <a:gd name="T10" fmla="*/ 598 w 609"/>
                <a:gd name="T11" fmla="*/ 312 h 1262"/>
                <a:gd name="T12" fmla="*/ 515 w 609"/>
                <a:gd name="T13" fmla="*/ 85 h 1262"/>
                <a:gd name="T14" fmla="*/ 288 w 609"/>
                <a:gd name="T15" fmla="*/ 6 h 1262"/>
                <a:gd name="T16" fmla="*/ 5 w 609"/>
                <a:gd name="T17" fmla="*/ 12 h 1262"/>
                <a:gd name="T18" fmla="*/ 64 w 609"/>
                <a:gd name="T19" fmla="*/ 50 h 1262"/>
                <a:gd name="T20" fmla="*/ 151 w 609"/>
                <a:gd name="T21" fmla="*/ 257 h 1262"/>
                <a:gd name="T22" fmla="*/ 159 w 609"/>
                <a:gd name="T23" fmla="*/ 447 h 1262"/>
                <a:gd name="T24" fmla="*/ 100 w 609"/>
                <a:gd name="T25" fmla="*/ 832 h 1262"/>
                <a:gd name="T26" fmla="*/ 0 w 609"/>
                <a:gd name="T27" fmla="*/ 1125 h 1262"/>
                <a:gd name="T28" fmla="*/ 166 w 609"/>
                <a:gd name="T29" fmla="*/ 1211 h 1262"/>
                <a:gd name="T30" fmla="*/ 389 w 609"/>
                <a:gd name="T31" fmla="*/ 1240 h 1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9" h="1262">
                  <a:moveTo>
                    <a:pt x="389" y="1240"/>
                  </a:moveTo>
                  <a:cubicBezTo>
                    <a:pt x="410" y="1233"/>
                    <a:pt x="430" y="1222"/>
                    <a:pt x="450" y="1208"/>
                  </a:cubicBezTo>
                  <a:cubicBezTo>
                    <a:pt x="481" y="1129"/>
                    <a:pt x="509" y="1042"/>
                    <a:pt x="534" y="944"/>
                  </a:cubicBezTo>
                  <a:lnTo>
                    <a:pt x="534" y="944"/>
                  </a:lnTo>
                  <a:cubicBezTo>
                    <a:pt x="568" y="816"/>
                    <a:pt x="588" y="699"/>
                    <a:pt x="598" y="594"/>
                  </a:cubicBezTo>
                  <a:cubicBezTo>
                    <a:pt x="608" y="488"/>
                    <a:pt x="607" y="394"/>
                    <a:pt x="598" y="312"/>
                  </a:cubicBezTo>
                  <a:cubicBezTo>
                    <a:pt x="589" y="225"/>
                    <a:pt x="567" y="136"/>
                    <a:pt x="515" y="85"/>
                  </a:cubicBezTo>
                  <a:cubicBezTo>
                    <a:pt x="463" y="35"/>
                    <a:pt x="375" y="14"/>
                    <a:pt x="288" y="6"/>
                  </a:cubicBezTo>
                  <a:cubicBezTo>
                    <a:pt x="205" y="0"/>
                    <a:pt x="111" y="1"/>
                    <a:pt x="5" y="12"/>
                  </a:cubicBezTo>
                  <a:cubicBezTo>
                    <a:pt x="28" y="22"/>
                    <a:pt x="48" y="35"/>
                    <a:pt x="64" y="50"/>
                  </a:cubicBezTo>
                  <a:cubicBezTo>
                    <a:pt x="116" y="97"/>
                    <a:pt x="140" y="178"/>
                    <a:pt x="151" y="257"/>
                  </a:cubicBezTo>
                  <a:cubicBezTo>
                    <a:pt x="158" y="315"/>
                    <a:pt x="162" y="378"/>
                    <a:pt x="159" y="447"/>
                  </a:cubicBezTo>
                  <a:cubicBezTo>
                    <a:pt x="156" y="559"/>
                    <a:pt x="138" y="687"/>
                    <a:pt x="100" y="832"/>
                  </a:cubicBezTo>
                  <a:cubicBezTo>
                    <a:pt x="71" y="944"/>
                    <a:pt x="37" y="1041"/>
                    <a:pt x="0" y="1125"/>
                  </a:cubicBezTo>
                  <a:cubicBezTo>
                    <a:pt x="58" y="1161"/>
                    <a:pt x="113" y="1189"/>
                    <a:pt x="166" y="1211"/>
                  </a:cubicBezTo>
                  <a:cubicBezTo>
                    <a:pt x="240" y="1242"/>
                    <a:pt x="322" y="1261"/>
                    <a:pt x="389" y="1240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" name="Freeform 5">
              <a:extLst>
                <a:ext uri="{FF2B5EF4-FFF2-40B4-BE49-F238E27FC236}">
                  <a16:creationId xmlns:a16="http://schemas.microsoft.com/office/drawing/2014/main" id="{2003D4B1-96A5-4E18-B68A-99A09455922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14850" y="1679575"/>
              <a:ext cx="454025" cy="355600"/>
            </a:xfrm>
            <a:custGeom>
              <a:avLst/>
              <a:gdLst>
                <a:gd name="T0" fmla="*/ 6 w 1262"/>
                <a:gd name="T1" fmla="*/ 279 h 986"/>
                <a:gd name="T2" fmla="*/ 3 w 1262"/>
                <a:gd name="T3" fmla="*/ 349 h 986"/>
                <a:gd name="T4" fmla="*/ 188 w 1262"/>
                <a:gd name="T5" fmla="*/ 552 h 986"/>
                <a:gd name="T6" fmla="*/ 461 w 1262"/>
                <a:gd name="T7" fmla="*/ 783 h 986"/>
                <a:gd name="T8" fmla="*/ 705 w 1262"/>
                <a:gd name="T9" fmla="*/ 924 h 986"/>
                <a:gd name="T10" fmla="*/ 942 w 1262"/>
                <a:gd name="T11" fmla="*/ 965 h 986"/>
                <a:gd name="T12" fmla="*/ 1125 w 1262"/>
                <a:gd name="T13" fmla="*/ 808 h 986"/>
                <a:gd name="T14" fmla="*/ 1261 w 1262"/>
                <a:gd name="T15" fmla="*/ 560 h 986"/>
                <a:gd name="T16" fmla="*/ 1198 w 1262"/>
                <a:gd name="T17" fmla="*/ 593 h 986"/>
                <a:gd name="T18" fmla="*/ 976 w 1262"/>
                <a:gd name="T19" fmla="*/ 564 h 986"/>
                <a:gd name="T20" fmla="*/ 806 w 1262"/>
                <a:gd name="T21" fmla="*/ 477 h 986"/>
                <a:gd name="T22" fmla="*/ 503 w 1262"/>
                <a:gd name="T23" fmla="*/ 233 h 986"/>
                <a:gd name="T24" fmla="*/ 503 w 1262"/>
                <a:gd name="T25" fmla="*/ 233 h 986"/>
                <a:gd name="T26" fmla="*/ 299 w 1262"/>
                <a:gd name="T27" fmla="*/ 0 h 986"/>
                <a:gd name="T28" fmla="*/ 142 w 1262"/>
                <a:gd name="T29" fmla="*/ 100 h 986"/>
                <a:gd name="T30" fmla="*/ 6 w 1262"/>
                <a:gd name="T31" fmla="*/ 279 h 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62" h="986">
                  <a:moveTo>
                    <a:pt x="6" y="279"/>
                  </a:moveTo>
                  <a:cubicBezTo>
                    <a:pt x="1" y="301"/>
                    <a:pt x="0" y="324"/>
                    <a:pt x="3" y="349"/>
                  </a:cubicBezTo>
                  <a:cubicBezTo>
                    <a:pt x="55" y="414"/>
                    <a:pt x="117" y="482"/>
                    <a:pt x="188" y="552"/>
                  </a:cubicBezTo>
                  <a:cubicBezTo>
                    <a:pt x="284" y="646"/>
                    <a:pt x="375" y="722"/>
                    <a:pt x="461" y="783"/>
                  </a:cubicBezTo>
                  <a:cubicBezTo>
                    <a:pt x="548" y="844"/>
                    <a:pt x="629" y="890"/>
                    <a:pt x="705" y="924"/>
                  </a:cubicBezTo>
                  <a:cubicBezTo>
                    <a:pt x="784" y="961"/>
                    <a:pt x="872" y="985"/>
                    <a:pt x="942" y="965"/>
                  </a:cubicBezTo>
                  <a:cubicBezTo>
                    <a:pt x="1012" y="946"/>
                    <a:pt x="1075" y="880"/>
                    <a:pt x="1125" y="808"/>
                  </a:cubicBezTo>
                  <a:cubicBezTo>
                    <a:pt x="1172" y="740"/>
                    <a:pt x="1218" y="658"/>
                    <a:pt x="1261" y="560"/>
                  </a:cubicBezTo>
                  <a:cubicBezTo>
                    <a:pt x="1241" y="575"/>
                    <a:pt x="1220" y="586"/>
                    <a:pt x="1198" y="593"/>
                  </a:cubicBezTo>
                  <a:cubicBezTo>
                    <a:pt x="1132" y="614"/>
                    <a:pt x="1049" y="595"/>
                    <a:pt x="976" y="564"/>
                  </a:cubicBezTo>
                  <a:cubicBezTo>
                    <a:pt x="922" y="542"/>
                    <a:pt x="865" y="513"/>
                    <a:pt x="806" y="477"/>
                  </a:cubicBezTo>
                  <a:cubicBezTo>
                    <a:pt x="711" y="418"/>
                    <a:pt x="610" y="338"/>
                    <a:pt x="503" y="233"/>
                  </a:cubicBezTo>
                  <a:lnTo>
                    <a:pt x="503" y="233"/>
                  </a:lnTo>
                  <a:cubicBezTo>
                    <a:pt x="420" y="152"/>
                    <a:pt x="354" y="74"/>
                    <a:pt x="299" y="0"/>
                  </a:cubicBezTo>
                  <a:cubicBezTo>
                    <a:pt x="239" y="32"/>
                    <a:pt x="187" y="66"/>
                    <a:pt x="142" y="100"/>
                  </a:cubicBezTo>
                  <a:cubicBezTo>
                    <a:pt x="79" y="149"/>
                    <a:pt x="21" y="211"/>
                    <a:pt x="6" y="279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" name="Freeform 6">
              <a:extLst>
                <a:ext uri="{FF2B5EF4-FFF2-40B4-BE49-F238E27FC236}">
                  <a16:creationId xmlns:a16="http://schemas.microsoft.com/office/drawing/2014/main" id="{93641F17-64A0-4980-AC6A-865DCBFBA4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22775" y="1428750"/>
              <a:ext cx="423863" cy="354013"/>
            </a:xfrm>
            <a:custGeom>
              <a:avLst/>
              <a:gdLst>
                <a:gd name="T0" fmla="*/ 1081 w 1179"/>
                <a:gd name="T1" fmla="*/ 36 h 985"/>
                <a:gd name="T2" fmla="*/ 1025 w 1179"/>
                <a:gd name="T3" fmla="*/ 0 h 985"/>
                <a:gd name="T4" fmla="*/ 753 w 1179"/>
                <a:gd name="T5" fmla="*/ 59 h 985"/>
                <a:gd name="T6" fmla="*/ 419 w 1179"/>
                <a:gd name="T7" fmla="*/ 179 h 985"/>
                <a:gd name="T8" fmla="*/ 175 w 1179"/>
                <a:gd name="T9" fmla="*/ 319 h 985"/>
                <a:gd name="T10" fmla="*/ 19 w 1179"/>
                <a:gd name="T11" fmla="*/ 505 h 985"/>
                <a:gd name="T12" fmla="*/ 65 w 1179"/>
                <a:gd name="T13" fmla="*/ 744 h 985"/>
                <a:gd name="T14" fmla="*/ 210 w 1179"/>
                <a:gd name="T15" fmla="*/ 984 h 985"/>
                <a:gd name="T16" fmla="*/ 213 w 1179"/>
                <a:gd name="T17" fmla="*/ 914 h 985"/>
                <a:gd name="T18" fmla="*/ 350 w 1179"/>
                <a:gd name="T19" fmla="*/ 735 h 985"/>
                <a:gd name="T20" fmla="*/ 510 w 1179"/>
                <a:gd name="T21" fmla="*/ 632 h 985"/>
                <a:gd name="T22" fmla="*/ 873 w 1179"/>
                <a:gd name="T23" fmla="*/ 491 h 985"/>
                <a:gd name="T24" fmla="*/ 873 w 1179"/>
                <a:gd name="T25" fmla="*/ 491 h 985"/>
                <a:gd name="T26" fmla="*/ 1176 w 1179"/>
                <a:gd name="T27" fmla="*/ 432 h 985"/>
                <a:gd name="T28" fmla="*/ 1167 w 1179"/>
                <a:gd name="T29" fmla="*/ 244 h 985"/>
                <a:gd name="T30" fmla="*/ 1081 w 1179"/>
                <a:gd name="T31" fmla="*/ 3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79" h="985">
                  <a:moveTo>
                    <a:pt x="1081" y="36"/>
                  </a:moveTo>
                  <a:cubicBezTo>
                    <a:pt x="1065" y="22"/>
                    <a:pt x="1046" y="10"/>
                    <a:pt x="1025" y="0"/>
                  </a:cubicBezTo>
                  <a:cubicBezTo>
                    <a:pt x="941" y="13"/>
                    <a:pt x="851" y="32"/>
                    <a:pt x="753" y="59"/>
                  </a:cubicBezTo>
                  <a:cubicBezTo>
                    <a:pt x="625" y="95"/>
                    <a:pt x="514" y="135"/>
                    <a:pt x="419" y="179"/>
                  </a:cubicBezTo>
                  <a:cubicBezTo>
                    <a:pt x="322" y="223"/>
                    <a:pt x="242" y="270"/>
                    <a:pt x="175" y="319"/>
                  </a:cubicBezTo>
                  <a:cubicBezTo>
                    <a:pt x="103" y="370"/>
                    <a:pt x="37" y="435"/>
                    <a:pt x="19" y="505"/>
                  </a:cubicBezTo>
                  <a:cubicBezTo>
                    <a:pt x="0" y="576"/>
                    <a:pt x="27" y="664"/>
                    <a:pt x="65" y="744"/>
                  </a:cubicBezTo>
                  <a:cubicBezTo>
                    <a:pt x="100" y="819"/>
                    <a:pt x="148" y="899"/>
                    <a:pt x="210" y="984"/>
                  </a:cubicBezTo>
                  <a:cubicBezTo>
                    <a:pt x="208" y="960"/>
                    <a:pt x="208" y="936"/>
                    <a:pt x="213" y="914"/>
                  </a:cubicBezTo>
                  <a:cubicBezTo>
                    <a:pt x="228" y="845"/>
                    <a:pt x="286" y="784"/>
                    <a:pt x="350" y="735"/>
                  </a:cubicBezTo>
                  <a:cubicBezTo>
                    <a:pt x="395" y="700"/>
                    <a:pt x="449" y="665"/>
                    <a:pt x="510" y="632"/>
                  </a:cubicBezTo>
                  <a:cubicBezTo>
                    <a:pt x="609" y="580"/>
                    <a:pt x="728" y="531"/>
                    <a:pt x="873" y="491"/>
                  </a:cubicBezTo>
                  <a:lnTo>
                    <a:pt x="873" y="491"/>
                  </a:lnTo>
                  <a:cubicBezTo>
                    <a:pt x="984" y="460"/>
                    <a:pt x="1085" y="442"/>
                    <a:pt x="1176" y="432"/>
                  </a:cubicBezTo>
                  <a:cubicBezTo>
                    <a:pt x="1178" y="363"/>
                    <a:pt x="1175" y="301"/>
                    <a:pt x="1167" y="244"/>
                  </a:cubicBezTo>
                  <a:cubicBezTo>
                    <a:pt x="1157" y="164"/>
                    <a:pt x="1133" y="83"/>
                    <a:pt x="1081" y="36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7" name="Группа 26">
            <a:extLst>
              <a:ext uri="{FF2B5EF4-FFF2-40B4-BE49-F238E27FC236}">
                <a16:creationId xmlns:a16="http://schemas.microsoft.com/office/drawing/2014/main" id="{3C0E7F56-1D1F-410E-856B-8EB054DAFB3B}"/>
              </a:ext>
            </a:extLst>
          </p:cNvPr>
          <p:cNvGrpSpPr/>
          <p:nvPr/>
        </p:nvGrpSpPr>
        <p:grpSpPr>
          <a:xfrm>
            <a:off x="0" y="4473116"/>
            <a:ext cx="7284124" cy="2232248"/>
            <a:chOff x="0" y="4594337"/>
            <a:chExt cx="7284124" cy="2296197"/>
          </a:xfrm>
        </p:grpSpPr>
        <p:sp>
          <p:nvSpPr>
            <p:cNvPr id="28" name="Прямоугольник 27">
              <a:extLst>
                <a:ext uri="{FF2B5EF4-FFF2-40B4-BE49-F238E27FC236}">
                  <a16:creationId xmlns:a16="http://schemas.microsoft.com/office/drawing/2014/main" id="{8E3E9D83-7217-45A3-81D3-A1E6EC2E7284}"/>
                </a:ext>
              </a:extLst>
            </p:cNvPr>
            <p:cNvSpPr/>
            <p:nvPr/>
          </p:nvSpPr>
          <p:spPr>
            <a:xfrm>
              <a:off x="0" y="4594337"/>
              <a:ext cx="7212125" cy="2296197"/>
            </a:xfrm>
            <a:prstGeom prst="rect">
              <a:avLst/>
            </a:prstGeom>
            <a:gradFill>
              <a:gsLst>
                <a:gs pos="32000">
                  <a:schemeClr val="accent2">
                    <a:alpha val="85000"/>
                  </a:schemeClr>
                </a:gs>
                <a:gs pos="100000">
                  <a:schemeClr val="accent2">
                    <a:lumMod val="80000"/>
                  </a:schemeClr>
                </a:gs>
              </a:gsLst>
              <a:lin ang="0" scaled="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190500" dist="38100" dir="16200000" rotWithShape="0">
                <a:prstClr val="black">
                  <a:alpha val="20000"/>
                </a:prstClr>
              </a:outerShdw>
            </a:effectLst>
            <a:extLst/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6381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+mn-ea"/>
                <a:cs typeface="+mn-cs"/>
              </a:endParaRPr>
            </a:p>
          </p:txBody>
        </p:sp>
        <p:sp>
          <p:nvSpPr>
            <p:cNvPr id="29" name="Прямоугольник 28">
              <a:extLst>
                <a:ext uri="{FF2B5EF4-FFF2-40B4-BE49-F238E27FC236}">
                  <a16:creationId xmlns:a16="http://schemas.microsoft.com/office/drawing/2014/main" id="{1CC253C4-8E28-43D3-A9E9-19D333C02AD7}"/>
                </a:ext>
              </a:extLst>
            </p:cNvPr>
            <p:cNvSpPr/>
            <p:nvPr/>
          </p:nvSpPr>
          <p:spPr>
            <a:xfrm>
              <a:off x="7212124" y="4594337"/>
              <a:ext cx="72000" cy="2295942"/>
            </a:xfrm>
            <a:prstGeom prst="rect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190500" dist="38100" dir="10800000" algn="r" rotWithShape="0">
                <a:prstClr val="black">
                  <a:alpha val="30000"/>
                </a:prstClr>
              </a:outerShdw>
            </a:effectLst>
            <a:extLst/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6381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+mn-ea"/>
                <a:cs typeface="+mn-cs"/>
              </a:endParaRPr>
            </a:p>
          </p:txBody>
        </p:sp>
        <p:sp>
          <p:nvSpPr>
            <p:cNvPr id="30" name="Прямоугольник 29">
              <a:extLst>
                <a:ext uri="{FF2B5EF4-FFF2-40B4-BE49-F238E27FC236}">
                  <a16:creationId xmlns:a16="http://schemas.microsoft.com/office/drawing/2014/main" id="{CEF5252B-48F9-456E-8D93-5A7C45A47B6C}"/>
                </a:ext>
              </a:extLst>
            </p:cNvPr>
            <p:cNvSpPr/>
            <p:nvPr/>
          </p:nvSpPr>
          <p:spPr>
            <a:xfrm>
              <a:off x="287525" y="4995058"/>
              <a:ext cx="6924600" cy="906513"/>
            </a:xfrm>
            <a:prstGeom prst="rect">
              <a:avLst/>
            </a:prstGeom>
            <a:effectLst/>
          </p:spPr>
          <p:txBody>
            <a:bodyPr wrap="square" lIns="0" tIns="0" rIns="0" bIns="0" anchor="ctr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14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4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Спортивное</a:t>
              </a:r>
              <a:r>
                <a:rPr kumimoji="0" lang="ru-RU" sz="2400" b="1" i="0" u="none" strike="noStrike" kern="1200" cap="none" spc="0" normalizeH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движение </a:t>
              </a:r>
              <a:r>
                <a:rPr lang="ru-RU" sz="2400" b="1" dirty="0" smtClean="0">
                  <a:solidFill>
                    <a:srgbClr val="FFFFFF"/>
                  </a:solidFill>
                  <a:latin typeface="Arial"/>
                </a:rPr>
                <a:t>«</a:t>
              </a:r>
              <a:r>
                <a:rPr lang="en-US" sz="2400" b="1" dirty="0" smtClean="0">
                  <a:solidFill>
                    <a:srgbClr val="FFFFFF"/>
                  </a:solidFill>
                  <a:latin typeface="Arial"/>
                </a:rPr>
                <a:t>No limits</a:t>
              </a:r>
              <a:r>
                <a:rPr lang="ru-RU" sz="2400" b="1" dirty="0" smtClean="0">
                  <a:solidFill>
                    <a:srgbClr val="FFFFFF"/>
                  </a:solidFill>
                  <a:latin typeface="Arial"/>
                </a:rPr>
                <a:t>»</a:t>
              </a:r>
            </a:p>
            <a:p>
              <a:pPr defTabSz="685800">
                <a:lnSpc>
                  <a:spcPct val="95000"/>
                </a:lnSpc>
                <a:spcAft>
                  <a:spcPts val="1400"/>
                </a:spcAft>
                <a:defRPr/>
              </a:pPr>
              <a:r>
                <a:rPr lang="ru-RU" sz="2400" b="1" dirty="0" smtClean="0">
                  <a:solidFill>
                    <a:srgbClr val="FFFFFF"/>
                  </a:solidFill>
                </a:rPr>
                <a:t>Спикер Леонтьева Наталья</a:t>
              </a:r>
              <a:endParaRPr lang="ru-RU" sz="2400" dirty="0">
                <a:solidFill>
                  <a:schemeClr val="bg1"/>
                </a:solidFill>
              </a:endParaRPr>
            </a:p>
          </p:txBody>
        </p:sp>
        <p:pic>
          <p:nvPicPr>
            <p:cNvPr id="32" name="Рисунок 1026">
              <a:extLst>
                <a:ext uri="{FF2B5EF4-FFF2-40B4-BE49-F238E27FC236}">
                  <a16:creationId xmlns:a16="http://schemas.microsoft.com/office/drawing/2014/main" id="{FD6567C2-C164-9A41-983D-8C9288181E0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9"/>
                </a:ext>
              </a:extLst>
            </a:blip>
            <a:stretch>
              <a:fillRect/>
            </a:stretch>
          </p:blipFill>
          <p:spPr>
            <a:xfrm>
              <a:off x="277754" y="6493751"/>
              <a:ext cx="220794" cy="220792"/>
            </a:xfrm>
            <a:prstGeom prst="rect">
              <a:avLst/>
            </a:prstGeom>
          </p:spPr>
        </p:pic>
        <p:sp>
          <p:nvSpPr>
            <p:cNvPr id="33" name="Rectangle 8">
              <a:extLst>
                <a:ext uri="{FF2B5EF4-FFF2-40B4-BE49-F238E27FC236}">
                  <a16:creationId xmlns:a16="http://schemas.microsoft.com/office/drawing/2014/main" id="{AC72BCB2-4BBD-44B6-AC47-8A3F5727C7F2}"/>
                </a:ext>
              </a:extLst>
            </p:cNvPr>
            <p:cNvSpPr/>
            <p:nvPr/>
          </p:nvSpPr>
          <p:spPr>
            <a:xfrm>
              <a:off x="571002" y="6509872"/>
              <a:ext cx="2356646" cy="210534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14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5DA3">
                      <a:lumMod val="20000"/>
                      <a:lumOff val="80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4.10.2020</a:t>
              </a:r>
              <a:endPara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5DA3">
                    <a:lumMod val="20000"/>
                    <a:lumOff val="8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936737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https://404store.com/2018/01/20/SprintRaceofBusinessman-8525.jpg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809" b="9473"/>
          <a:stretch/>
        </p:blipFill>
        <p:spPr bwMode="auto">
          <a:xfrm>
            <a:off x="3360" y="80628"/>
            <a:ext cx="12191999" cy="68666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292978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0" name="Слайд think-cell" r:id="rId6" imgW="395" imgH="396" progId="TCLayout.ActiveDocument.1">
                  <p:embed/>
                </p:oleObj>
              </mc:Choice>
              <mc:Fallback>
                <p:oleObj name="Слайд think-cell" r:id="rId6" imgW="395" imgH="396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>
            <a:gsLst>
              <a:gs pos="0">
                <a:schemeClr val="accent2"/>
              </a:gs>
              <a:gs pos="100000">
                <a:schemeClr val="accent2">
                  <a:lumMod val="75000"/>
                </a:scheme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95350"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</a:pPr>
            <a:endParaRPr lang="ru-RU" sz="2000" b="1" dirty="0" err="1" smtClean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B9CAC58-44C9-4DC0-A6AF-0B4057C34224}" type="slidenum">
              <a:rPr lang="ru-RU" smtClean="0"/>
              <a:pPr/>
              <a:t>10</a:t>
            </a:fld>
            <a:endParaRPr lang="ru-RU"/>
          </a:p>
        </p:txBody>
      </p:sp>
      <p:sp>
        <p:nvSpPr>
          <p:cNvPr id="8" name="Заголовок 2"/>
          <p:cNvSpPr>
            <a:spLocks noGrp="1"/>
          </p:cNvSpPr>
          <p:nvPr>
            <p:ph type="title"/>
          </p:nvPr>
        </p:nvSpPr>
        <p:spPr>
          <a:xfrm>
            <a:off x="335360" y="296652"/>
            <a:ext cx="10080500" cy="297962"/>
          </a:xfrm>
        </p:spPr>
        <p:txBody>
          <a:bodyPr/>
          <a:lstStyle/>
          <a:p>
            <a:r>
              <a:rPr lang="ru-RU" dirty="0" smtClean="0"/>
              <a:t>И еще мы провели…</a:t>
            </a:r>
            <a:endParaRPr lang="ru-RU" dirty="0"/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954858D0-E7CC-2E43-8F63-A140D4BA286A}"/>
              </a:ext>
            </a:extLst>
          </p:cNvPr>
          <p:cNvSpPr/>
          <p:nvPr/>
        </p:nvSpPr>
        <p:spPr>
          <a:xfrm>
            <a:off x="19516" y="3072"/>
            <a:ext cx="12222374" cy="6944176"/>
          </a:xfrm>
          <a:prstGeom prst="rect">
            <a:avLst/>
          </a:prstGeom>
          <a:gradFill flip="none" rotWithShape="1">
            <a:gsLst>
              <a:gs pos="100000">
                <a:schemeClr val="accent2">
                  <a:lumMod val="75000"/>
                  <a:alpha val="38000"/>
                </a:schemeClr>
              </a:gs>
              <a:gs pos="0">
                <a:srgbClr val="4262AE"/>
              </a:gs>
            </a:gsLst>
            <a:lin ang="13500000" scaled="1"/>
            <a:tileRect/>
          </a:gradFill>
          <a:ln w="9525">
            <a:noFill/>
            <a:miter lim="800000"/>
            <a:headEnd/>
            <a:tailEnd/>
          </a:ln>
          <a:effectLst>
            <a:outerShdw blurRad="228600" sx="102000" sy="102000" algn="ctr" rotWithShape="0">
              <a:prstClr val="black">
                <a:alpha val="16000"/>
              </a:prstClr>
            </a:outerShdw>
          </a:effectLst>
        </p:spPr>
        <p:txBody>
          <a:bodyPr rot="0" spcFirstLastPara="0" vertOverflow="overflow" horzOverflow="overflow" vert="horz" wrap="square" lIns="540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191344" y="1185286"/>
            <a:ext cx="5454250" cy="1200329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marL="685800" indent="-685800">
              <a:buFontTx/>
              <a:buChar char="-"/>
            </a:pPr>
            <a:r>
              <a:rPr lang="ru-RU" sz="2400" b="0" cap="none" spc="0" dirty="0" smtClean="0">
                <a:ln w="0"/>
                <a:solidFill>
                  <a:srgbClr val="F9F9FA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Первые металлургические игры</a:t>
            </a:r>
          </a:p>
          <a:p>
            <a:pPr marL="685800" indent="-685800">
              <a:buFontTx/>
              <a:buChar char="-"/>
            </a:pPr>
            <a:r>
              <a:rPr lang="ru-RU" sz="2400" dirty="0" smtClean="0">
                <a:ln w="0"/>
                <a:solidFill>
                  <a:srgbClr val="F9F9FA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Марафон правильного питания</a:t>
            </a:r>
          </a:p>
          <a:p>
            <a:pPr marL="685800" indent="-685800">
              <a:buFontTx/>
              <a:buChar char="-"/>
            </a:pPr>
            <a:r>
              <a:rPr lang="ru-RU" sz="2400" b="0" cap="none" spc="0" dirty="0" smtClean="0">
                <a:ln w="0"/>
                <a:solidFill>
                  <a:srgbClr val="F9F9FA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Серию </a:t>
            </a:r>
            <a:r>
              <a:rPr lang="ru-RU" sz="2400" b="0" cap="none" spc="0" dirty="0" err="1" smtClean="0">
                <a:ln w="0"/>
                <a:solidFill>
                  <a:srgbClr val="F9F9FA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челленджей</a:t>
            </a:r>
            <a:endParaRPr lang="ru-RU" sz="2400" b="0" cap="none" spc="0" dirty="0">
              <a:ln w="0"/>
              <a:solidFill>
                <a:srgbClr val="F9F9FA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41933717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2" name="Слайд think-cell" r:id="rId5" imgW="395" imgH="396" progId="TCLayout.ActiveDocument.1">
                  <p:embed/>
                </p:oleObj>
              </mc:Choice>
              <mc:Fallback>
                <p:oleObj name="Слайд think-cell" r:id="rId5" imgW="395" imgH="396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>
            <a:gsLst>
              <a:gs pos="0">
                <a:schemeClr val="accent2"/>
              </a:gs>
              <a:gs pos="100000">
                <a:schemeClr val="accent2">
                  <a:lumMod val="75000"/>
                </a:scheme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 typeface="Wingdings" panose="05000000000000000000" pitchFamily="2" charset="2"/>
              <a:buNone/>
              <a:tabLst/>
              <a:defRPr/>
            </a:pPr>
            <a:endParaRPr kumimoji="0" lang="ru-RU" sz="2000" b="1" i="0" u="none" strike="noStrike" kern="1200" cap="none" spc="0" normalizeH="0" baseline="0" noProof="0" dirty="0" err="1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B9CAC58-44C9-4DC0-A6AF-0B4057C34224}" type="slidenum">
              <a:rPr kumimoji="0" lang="ru-RU" sz="105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ru-RU" sz="105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95000"/>
                  <a:lumOff val="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Упоминание </a:t>
            </a:r>
            <a:r>
              <a:rPr lang="en-US" dirty="0" smtClean="0"/>
              <a:t>Severstal No Limits </a:t>
            </a:r>
            <a:r>
              <a:rPr lang="ru-RU" dirty="0" smtClean="0"/>
              <a:t>в социальных сетях</a:t>
            </a:r>
            <a:endParaRPr lang="ru-RU" dirty="0"/>
          </a:p>
        </p:txBody>
      </p:sp>
      <p:grpSp>
        <p:nvGrpSpPr>
          <p:cNvPr id="6" name="Группа 5"/>
          <p:cNvGrpSpPr/>
          <p:nvPr/>
        </p:nvGrpSpPr>
        <p:grpSpPr>
          <a:xfrm>
            <a:off x="659396" y="1992323"/>
            <a:ext cx="1440000" cy="1440000"/>
            <a:chOff x="431548" y="1194120"/>
            <a:chExt cx="3132000" cy="3132000"/>
          </a:xfrm>
        </p:grpSpPr>
        <p:sp>
          <p:nvSpPr>
            <p:cNvPr id="9" name="Овал 8">
              <a:extLst>
                <a:ext uri="{FF2B5EF4-FFF2-40B4-BE49-F238E27FC236}">
                  <a16:creationId xmlns:a16="http://schemas.microsoft.com/office/drawing/2014/main" id="{59CF7A84-DDC3-43A4-8DB3-A621BF59C678}"/>
                </a:ext>
              </a:extLst>
            </p:cNvPr>
            <p:cNvSpPr/>
            <p:nvPr/>
          </p:nvSpPr>
          <p:spPr bwMode="auto">
            <a:xfrm>
              <a:off x="503548" y="1268760"/>
              <a:ext cx="2988000" cy="2988000"/>
            </a:xfrm>
            <a:prstGeom prst="ellipse">
              <a:avLst/>
            </a:prstGeom>
            <a:gradFill flip="none" rotWithShape="1">
              <a:gsLst>
                <a:gs pos="75000">
                  <a:schemeClr val="bg1">
                    <a:lumMod val="95000"/>
                  </a:schemeClr>
                </a:gs>
                <a:gs pos="0">
                  <a:schemeClr val="bg1">
                    <a:lumMod val="6500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190500" dist="101600" dir="2700000" algn="tl" rotWithShape="0">
                <a:prstClr val="black">
                  <a:alpha val="10000"/>
                </a:prstClr>
              </a:outerShdw>
            </a:effectLst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7863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+mn-ea"/>
                <a:cs typeface="+mn-cs"/>
              </a:endParaRPr>
            </a:p>
          </p:txBody>
        </p:sp>
        <p:sp>
          <p:nvSpPr>
            <p:cNvPr id="8" name="Овал 27">
              <a:extLst>
                <a:ext uri="{FF2B5EF4-FFF2-40B4-BE49-F238E27FC236}">
                  <a16:creationId xmlns:a16="http://schemas.microsoft.com/office/drawing/2014/main" id="{1D892635-3509-4EF5-8B84-52EB736989BC}"/>
                </a:ext>
              </a:extLst>
            </p:cNvPr>
            <p:cNvSpPr/>
            <p:nvPr/>
          </p:nvSpPr>
          <p:spPr bwMode="auto">
            <a:xfrm>
              <a:off x="431548" y="1194120"/>
              <a:ext cx="3132000" cy="3132000"/>
            </a:xfrm>
            <a:prstGeom prst="ellipse">
              <a:avLst/>
            </a:prstGeom>
            <a:noFill/>
            <a:ln w="22225" cap="flat" cmpd="sng" algn="ctr">
              <a:gradFill>
                <a:gsLst>
                  <a:gs pos="0">
                    <a:schemeClr val="accent1"/>
                  </a:gs>
                  <a:gs pos="100000">
                    <a:schemeClr val="accent2"/>
                  </a:gs>
                </a:gsLst>
                <a:lin ang="16200000" scaled="0"/>
              </a:gradFill>
              <a:prstDash val="sysDot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7863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75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+mn-ea"/>
                <a:cs typeface="+mn-cs"/>
              </a:endParaRPr>
            </a:p>
          </p:txBody>
        </p:sp>
      </p:grpSp>
      <p:grpSp>
        <p:nvGrpSpPr>
          <p:cNvPr id="11" name="Группа 10"/>
          <p:cNvGrpSpPr/>
          <p:nvPr/>
        </p:nvGrpSpPr>
        <p:grpSpPr>
          <a:xfrm>
            <a:off x="3035820" y="1986618"/>
            <a:ext cx="1440000" cy="1440000"/>
            <a:chOff x="431548" y="1194120"/>
            <a:chExt cx="3132000" cy="3132000"/>
          </a:xfrm>
        </p:grpSpPr>
        <p:sp>
          <p:nvSpPr>
            <p:cNvPr id="12" name="Овал 11">
              <a:extLst>
                <a:ext uri="{FF2B5EF4-FFF2-40B4-BE49-F238E27FC236}">
                  <a16:creationId xmlns:a16="http://schemas.microsoft.com/office/drawing/2014/main" id="{59CF7A84-DDC3-43A4-8DB3-A621BF59C678}"/>
                </a:ext>
              </a:extLst>
            </p:cNvPr>
            <p:cNvSpPr/>
            <p:nvPr/>
          </p:nvSpPr>
          <p:spPr bwMode="auto">
            <a:xfrm>
              <a:off x="503548" y="1268760"/>
              <a:ext cx="2988000" cy="2988000"/>
            </a:xfrm>
            <a:prstGeom prst="ellipse">
              <a:avLst/>
            </a:prstGeom>
            <a:gradFill flip="none" rotWithShape="1">
              <a:gsLst>
                <a:gs pos="75000">
                  <a:schemeClr val="bg1">
                    <a:lumMod val="95000"/>
                  </a:schemeClr>
                </a:gs>
                <a:gs pos="0">
                  <a:schemeClr val="bg1">
                    <a:lumMod val="6500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190500" dist="101600" dir="2700000" algn="tl" rotWithShape="0">
                <a:prstClr val="black">
                  <a:alpha val="10000"/>
                </a:prstClr>
              </a:outerShdw>
            </a:effectLst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7863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+mn-ea"/>
                <a:cs typeface="+mn-cs"/>
              </a:endParaRPr>
            </a:p>
          </p:txBody>
        </p:sp>
        <p:sp>
          <p:nvSpPr>
            <p:cNvPr id="13" name="Овал 27">
              <a:extLst>
                <a:ext uri="{FF2B5EF4-FFF2-40B4-BE49-F238E27FC236}">
                  <a16:creationId xmlns:a16="http://schemas.microsoft.com/office/drawing/2014/main" id="{1D892635-3509-4EF5-8B84-52EB736989BC}"/>
                </a:ext>
              </a:extLst>
            </p:cNvPr>
            <p:cNvSpPr/>
            <p:nvPr/>
          </p:nvSpPr>
          <p:spPr bwMode="auto">
            <a:xfrm>
              <a:off x="431548" y="1194120"/>
              <a:ext cx="3132000" cy="3132000"/>
            </a:xfrm>
            <a:prstGeom prst="ellipse">
              <a:avLst/>
            </a:prstGeom>
            <a:noFill/>
            <a:ln w="22225" cap="flat" cmpd="sng" algn="ctr">
              <a:gradFill>
                <a:gsLst>
                  <a:gs pos="0">
                    <a:schemeClr val="accent1"/>
                  </a:gs>
                  <a:gs pos="100000">
                    <a:schemeClr val="accent2"/>
                  </a:gs>
                </a:gsLst>
                <a:lin ang="16200000" scaled="0"/>
              </a:gradFill>
              <a:prstDash val="sysDot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7863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75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+mn-ea"/>
                <a:cs typeface="+mn-cs"/>
              </a:endParaRPr>
            </a:p>
          </p:txBody>
        </p:sp>
      </p:grpSp>
      <p:grpSp>
        <p:nvGrpSpPr>
          <p:cNvPr id="14" name="Группа 13"/>
          <p:cNvGrpSpPr/>
          <p:nvPr/>
        </p:nvGrpSpPr>
        <p:grpSpPr>
          <a:xfrm>
            <a:off x="5412084" y="1986618"/>
            <a:ext cx="1440000" cy="1440000"/>
            <a:chOff x="431548" y="1194120"/>
            <a:chExt cx="3132000" cy="3132000"/>
          </a:xfrm>
        </p:grpSpPr>
        <p:sp>
          <p:nvSpPr>
            <p:cNvPr id="15" name="Овал 14">
              <a:extLst>
                <a:ext uri="{FF2B5EF4-FFF2-40B4-BE49-F238E27FC236}">
                  <a16:creationId xmlns:a16="http://schemas.microsoft.com/office/drawing/2014/main" id="{59CF7A84-DDC3-43A4-8DB3-A621BF59C678}"/>
                </a:ext>
              </a:extLst>
            </p:cNvPr>
            <p:cNvSpPr/>
            <p:nvPr/>
          </p:nvSpPr>
          <p:spPr bwMode="auto">
            <a:xfrm>
              <a:off x="503548" y="1268760"/>
              <a:ext cx="2988000" cy="2988000"/>
            </a:xfrm>
            <a:prstGeom prst="ellipse">
              <a:avLst/>
            </a:prstGeom>
            <a:gradFill flip="none" rotWithShape="1">
              <a:gsLst>
                <a:gs pos="75000">
                  <a:schemeClr val="bg1">
                    <a:lumMod val="95000"/>
                  </a:schemeClr>
                </a:gs>
                <a:gs pos="0">
                  <a:schemeClr val="bg1">
                    <a:lumMod val="6500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190500" dist="101600" dir="2700000" algn="tl" rotWithShape="0">
                <a:prstClr val="black">
                  <a:alpha val="10000"/>
                </a:prstClr>
              </a:outerShdw>
            </a:effectLst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7863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+mn-ea"/>
                <a:cs typeface="+mn-cs"/>
              </a:endParaRPr>
            </a:p>
          </p:txBody>
        </p:sp>
        <p:sp>
          <p:nvSpPr>
            <p:cNvPr id="16" name="Овал 27">
              <a:extLst>
                <a:ext uri="{FF2B5EF4-FFF2-40B4-BE49-F238E27FC236}">
                  <a16:creationId xmlns:a16="http://schemas.microsoft.com/office/drawing/2014/main" id="{1D892635-3509-4EF5-8B84-52EB736989BC}"/>
                </a:ext>
              </a:extLst>
            </p:cNvPr>
            <p:cNvSpPr/>
            <p:nvPr/>
          </p:nvSpPr>
          <p:spPr bwMode="auto">
            <a:xfrm>
              <a:off x="431548" y="1194120"/>
              <a:ext cx="3132000" cy="3132000"/>
            </a:xfrm>
            <a:prstGeom prst="ellipse">
              <a:avLst/>
            </a:prstGeom>
            <a:noFill/>
            <a:ln w="22225" cap="flat" cmpd="sng" algn="ctr">
              <a:gradFill>
                <a:gsLst>
                  <a:gs pos="0">
                    <a:schemeClr val="accent1"/>
                  </a:gs>
                  <a:gs pos="100000">
                    <a:schemeClr val="accent2"/>
                  </a:gs>
                </a:gsLst>
                <a:lin ang="16200000" scaled="0"/>
              </a:gradFill>
              <a:prstDash val="sysDot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7863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75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+mn-ea"/>
                <a:cs typeface="+mn-cs"/>
              </a:endParaRPr>
            </a:p>
          </p:txBody>
        </p:sp>
      </p:grpSp>
      <p:grpSp>
        <p:nvGrpSpPr>
          <p:cNvPr id="17" name="Группа 16"/>
          <p:cNvGrpSpPr/>
          <p:nvPr/>
        </p:nvGrpSpPr>
        <p:grpSpPr>
          <a:xfrm>
            <a:off x="7788348" y="1993536"/>
            <a:ext cx="1440000" cy="1440000"/>
            <a:chOff x="431548" y="1194120"/>
            <a:chExt cx="3132000" cy="3132000"/>
          </a:xfrm>
        </p:grpSpPr>
        <p:sp>
          <p:nvSpPr>
            <p:cNvPr id="18" name="Овал 17">
              <a:extLst>
                <a:ext uri="{FF2B5EF4-FFF2-40B4-BE49-F238E27FC236}">
                  <a16:creationId xmlns:a16="http://schemas.microsoft.com/office/drawing/2014/main" id="{59CF7A84-DDC3-43A4-8DB3-A621BF59C678}"/>
                </a:ext>
              </a:extLst>
            </p:cNvPr>
            <p:cNvSpPr/>
            <p:nvPr/>
          </p:nvSpPr>
          <p:spPr bwMode="auto">
            <a:xfrm>
              <a:off x="503548" y="1268760"/>
              <a:ext cx="2988000" cy="2988000"/>
            </a:xfrm>
            <a:prstGeom prst="ellipse">
              <a:avLst/>
            </a:prstGeom>
            <a:gradFill flip="none" rotWithShape="1">
              <a:gsLst>
                <a:gs pos="75000">
                  <a:schemeClr val="accent1">
                    <a:lumMod val="20000"/>
                    <a:lumOff val="80000"/>
                  </a:schemeClr>
                </a:gs>
                <a:gs pos="0">
                  <a:schemeClr val="bg1">
                    <a:lumMod val="6500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190500" dist="101600" dir="2700000" algn="tl" rotWithShape="0">
                <a:prstClr val="black">
                  <a:alpha val="10000"/>
                </a:prstClr>
              </a:outerShdw>
            </a:effectLst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7863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+mn-ea"/>
                <a:cs typeface="+mn-cs"/>
              </a:endParaRPr>
            </a:p>
          </p:txBody>
        </p:sp>
        <p:sp>
          <p:nvSpPr>
            <p:cNvPr id="19" name="Овал 27">
              <a:extLst>
                <a:ext uri="{FF2B5EF4-FFF2-40B4-BE49-F238E27FC236}">
                  <a16:creationId xmlns:a16="http://schemas.microsoft.com/office/drawing/2014/main" id="{1D892635-3509-4EF5-8B84-52EB736989BC}"/>
                </a:ext>
              </a:extLst>
            </p:cNvPr>
            <p:cNvSpPr/>
            <p:nvPr/>
          </p:nvSpPr>
          <p:spPr bwMode="auto">
            <a:xfrm>
              <a:off x="431548" y="1194120"/>
              <a:ext cx="3132000" cy="3132000"/>
            </a:xfrm>
            <a:prstGeom prst="ellipse">
              <a:avLst/>
            </a:prstGeom>
            <a:noFill/>
            <a:ln w="22225" cap="flat" cmpd="sng" algn="ctr">
              <a:gradFill>
                <a:gsLst>
                  <a:gs pos="0">
                    <a:schemeClr val="accent1"/>
                  </a:gs>
                  <a:gs pos="100000">
                    <a:schemeClr val="accent2"/>
                  </a:gs>
                </a:gsLst>
                <a:lin ang="16200000" scaled="0"/>
              </a:gradFill>
              <a:prstDash val="sysDot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7863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75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+mn-ea"/>
                <a:cs typeface="+mn-cs"/>
              </a:endParaRPr>
            </a:p>
          </p:txBody>
        </p:sp>
      </p:grpSp>
      <p:grpSp>
        <p:nvGrpSpPr>
          <p:cNvPr id="20" name="Группа 19"/>
          <p:cNvGrpSpPr/>
          <p:nvPr/>
        </p:nvGrpSpPr>
        <p:grpSpPr>
          <a:xfrm>
            <a:off x="10164612" y="1993536"/>
            <a:ext cx="1440000" cy="1440000"/>
            <a:chOff x="431548" y="1194120"/>
            <a:chExt cx="3132000" cy="3132000"/>
          </a:xfrm>
        </p:grpSpPr>
        <p:sp>
          <p:nvSpPr>
            <p:cNvPr id="21" name="Овал 20">
              <a:extLst>
                <a:ext uri="{FF2B5EF4-FFF2-40B4-BE49-F238E27FC236}">
                  <a16:creationId xmlns:a16="http://schemas.microsoft.com/office/drawing/2014/main" id="{59CF7A84-DDC3-43A4-8DB3-A621BF59C678}"/>
                </a:ext>
              </a:extLst>
            </p:cNvPr>
            <p:cNvSpPr/>
            <p:nvPr/>
          </p:nvSpPr>
          <p:spPr bwMode="auto">
            <a:xfrm>
              <a:off x="503548" y="1268760"/>
              <a:ext cx="2988000" cy="2988000"/>
            </a:xfrm>
            <a:prstGeom prst="ellipse">
              <a:avLst/>
            </a:prstGeom>
            <a:gradFill flip="none" rotWithShape="1">
              <a:gsLst>
                <a:gs pos="75000">
                  <a:schemeClr val="accent2">
                    <a:alpha val="22000"/>
                  </a:schemeClr>
                </a:gs>
                <a:gs pos="0">
                  <a:schemeClr val="bg1">
                    <a:lumMod val="6500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190500" dist="101600" dir="2700000" algn="tl" rotWithShape="0">
                <a:prstClr val="black">
                  <a:alpha val="10000"/>
                </a:prstClr>
              </a:outerShdw>
            </a:effectLst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7863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+mn-ea"/>
                <a:cs typeface="+mn-cs"/>
              </a:endParaRPr>
            </a:p>
          </p:txBody>
        </p:sp>
        <p:sp>
          <p:nvSpPr>
            <p:cNvPr id="22" name="Овал 27">
              <a:extLst>
                <a:ext uri="{FF2B5EF4-FFF2-40B4-BE49-F238E27FC236}">
                  <a16:creationId xmlns:a16="http://schemas.microsoft.com/office/drawing/2014/main" id="{1D892635-3509-4EF5-8B84-52EB736989BC}"/>
                </a:ext>
              </a:extLst>
            </p:cNvPr>
            <p:cNvSpPr/>
            <p:nvPr/>
          </p:nvSpPr>
          <p:spPr bwMode="auto">
            <a:xfrm>
              <a:off x="431548" y="1194120"/>
              <a:ext cx="3132000" cy="3132000"/>
            </a:xfrm>
            <a:prstGeom prst="ellipse">
              <a:avLst/>
            </a:prstGeom>
            <a:noFill/>
            <a:ln w="22225" cap="flat" cmpd="sng" algn="ctr">
              <a:gradFill>
                <a:gsLst>
                  <a:gs pos="0">
                    <a:schemeClr val="accent1"/>
                  </a:gs>
                  <a:gs pos="100000">
                    <a:schemeClr val="accent2"/>
                  </a:gs>
                </a:gsLst>
                <a:lin ang="16200000" scaled="0"/>
              </a:gradFill>
              <a:prstDash val="sysDot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7863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75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+mn-ea"/>
                <a:cs typeface="+mn-cs"/>
              </a:endParaRPr>
            </a:p>
          </p:txBody>
        </p:sp>
      </p:grpSp>
      <p:sp>
        <p:nvSpPr>
          <p:cNvPr id="23" name="TextBox 22"/>
          <p:cNvSpPr txBox="1"/>
          <p:nvPr/>
        </p:nvSpPr>
        <p:spPr>
          <a:xfrm>
            <a:off x="404243" y="3648507"/>
            <a:ext cx="1980141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До 50 публикаций ежемесячно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2765748" y="3648506"/>
            <a:ext cx="1980141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До 50 публикаций ежемесячно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5142012" y="3648506"/>
            <a:ext cx="1980141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До 50 публикаций ежемесячно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7518276" y="3648506"/>
            <a:ext cx="1980141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До 50 публикаций ежемесячно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10056440" y="3648506"/>
            <a:ext cx="1980141" cy="12926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Активность чата – 1000+ сообщений ежемесячно (при онлайн-соревнованиях достигает до 3000 сообщений)</a:t>
            </a:r>
          </a:p>
        </p:txBody>
      </p:sp>
      <p:pic>
        <p:nvPicPr>
          <p:cNvPr id="20485" name="Picture 5" descr="https://avatanplus.com/files/resources/original/57aaa01c5440c15672816eb9.png"/>
          <p:cNvPicPr>
            <a:picLocks noChangeAspect="1" noChangeArrowheads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276" y="2550129"/>
            <a:ext cx="1248237" cy="3268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488" name="Picture 8" descr="https://www.freeiconspng.com/uploads/logo-facebook-png-hd-12.png"/>
          <p:cNvPicPr>
            <a:picLocks noChangeAspect="1" noChangeArrowheads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6138" y="2550129"/>
            <a:ext cx="1299044" cy="2730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490" name="Picture 10" descr="https://lightonconspiracies.com/wp-content/uploads/2019/02/instagram-png-instagram-logo-2-png-8-de-abril-de-2017-927-kb-3500-3393-3500-1024x993.png"/>
          <p:cNvPicPr>
            <a:picLocks noChangeAspect="1" noChangeArrowheads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91399" y="2259330"/>
            <a:ext cx="881365" cy="8546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492" name="Picture 12" descr="https://2.bp.blogspot.com/-A9p__YRkG6I/XHXnAGjfT6I/AAAAAAAASFY/-f8I4dXRUn4yvdi3UA-f_UbC-TnXyt1RwCLcBGAs/s1600/Yammer.png"/>
          <p:cNvPicPr>
            <a:picLocks noChangeAspect="1" noChangeArrowheads="1"/>
          </p:cNvPicPr>
          <p:nvPr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23894" y="2207062"/>
            <a:ext cx="1332148" cy="9991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494" name="Picture 14" descr="https://avatars.mds.yandex.net/get-zen_doc/1712263/pub_5d989de0aad43600b1cdc307_5d989e39aad43600b1cdc309/scale_1200"/>
          <p:cNvPicPr>
            <a:picLocks noChangeAspect="1" noChangeArrowheads="1"/>
          </p:cNvPicPr>
          <p:nvPr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80476" y="2212150"/>
            <a:ext cx="976254" cy="9062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9" name="Прямая соединительная линия 28"/>
          <p:cNvCxnSpPr/>
          <p:nvPr/>
        </p:nvCxnSpPr>
        <p:spPr bwMode="auto">
          <a:xfrm>
            <a:off x="7356140" y="1960433"/>
            <a:ext cx="0" cy="1409722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0" name="Прямоугольник 29"/>
          <p:cNvSpPr/>
          <p:nvPr/>
        </p:nvSpPr>
        <p:spPr>
          <a:xfrm>
            <a:off x="659396" y="4616161"/>
            <a:ext cx="7776864" cy="154914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1" name="Прямоугольник 30"/>
          <p:cNvSpPr/>
          <p:nvPr/>
        </p:nvSpPr>
        <p:spPr>
          <a:xfrm>
            <a:off x="755276" y="4767484"/>
            <a:ext cx="7632848" cy="12464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В сравнении,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количество упоминаний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движения </a:t>
            </a:r>
            <a:r>
              <a:rPr kumimoji="0" lang="ru-RU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Limits в социальных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етях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опоставимо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 релевантными </a:t>
            </a:r>
            <a:r>
              <a:rPr kumimoji="0" lang="ru-RU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компаратороми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</a:t>
            </a:r>
            <a:r>
              <a:rPr kumimoji="0" lang="ru-RU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berbank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iatlon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am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и «Полюсом» - </a:t>
            </a:r>
            <a:b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и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оставляет ежемесячно до 50 постов. </a:t>
            </a: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Рост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отмечается во время проведения крупных самостоятельных мероприятий или участия в </a:t>
            </a:r>
            <a:r>
              <a:rPr kumimoji="0" lang="ru-RU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медийных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марафонах, забегах (например, Московский марафон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).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374037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201560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44"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2">
            <a:extLst>
              <a:ext uri="{FF2B5EF4-FFF2-40B4-BE49-F238E27FC236}">
                <a16:creationId xmlns:a16="http://schemas.microsoft.com/office/drawing/2014/main" id="{82DB41F3-03DC-4DD1-8C0D-4A4FC8A3C26F}"/>
              </a:ext>
            </a:extLst>
          </p:cNvPr>
          <p:cNvPicPr>
            <a:picLocks noGrp="1" noChangeAspect="1" noChangeArrowheads="1"/>
          </p:cNvPicPr>
          <p:nvPr>
            <p:ph type="pic" sz="quarter" idx="11"/>
          </p:nvPr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1D669717-11FE-4B0A-9CBD-2391587BE80A}"/>
              </a:ext>
            </a:extLst>
          </p:cNvPr>
          <p:cNvSpPr/>
          <p:nvPr/>
        </p:nvSpPr>
        <p:spPr>
          <a:xfrm>
            <a:off x="0" y="0"/>
            <a:ext cx="12204700" cy="6857999"/>
          </a:xfrm>
          <a:prstGeom prst="rect">
            <a:avLst/>
          </a:prstGeom>
          <a:gradFill flip="none" rotWithShape="1">
            <a:gsLst>
              <a:gs pos="68000">
                <a:srgbClr val="005DA3">
                  <a:alpha val="50000"/>
                </a:srgbClr>
              </a:gs>
              <a:gs pos="0">
                <a:srgbClr val="DD1E25"/>
              </a:gs>
            </a:gsLst>
            <a:lin ang="126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78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275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010C8B7F-4AC8-4AAC-952B-27C38927FC30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B9CAC58-44C9-4DC0-A6AF-0B4057C34224}" type="slidenum">
              <a:rPr kumimoji="0" lang="ru-RU" sz="105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ru-RU" sz="10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Полилиния: фигура 19">
            <a:extLst>
              <a:ext uri="{FF2B5EF4-FFF2-40B4-BE49-F238E27FC236}">
                <a16:creationId xmlns:a16="http://schemas.microsoft.com/office/drawing/2014/main" id="{C9C4E9CA-83B3-4DB8-AEF3-E4331876B47F}"/>
              </a:ext>
            </a:extLst>
          </p:cNvPr>
          <p:cNvSpPr/>
          <p:nvPr/>
        </p:nvSpPr>
        <p:spPr>
          <a:xfrm>
            <a:off x="2489200" y="2285255"/>
            <a:ext cx="7213600" cy="4572745"/>
          </a:xfrm>
          <a:custGeom>
            <a:avLst/>
            <a:gdLst>
              <a:gd name="connsiteX0" fmla="*/ 714793 w 2233179"/>
              <a:gd name="connsiteY0" fmla="*/ 943552 h 1415626"/>
              <a:gd name="connsiteX1" fmla="*/ 982981 w 2233179"/>
              <a:gd name="connsiteY1" fmla="*/ 1252714 h 1415626"/>
              <a:gd name="connsiteX2" fmla="*/ 1087742 w 2233179"/>
              <a:gd name="connsiteY2" fmla="*/ 1349909 h 1415626"/>
              <a:gd name="connsiteX3" fmla="*/ 1166280 w 2233179"/>
              <a:gd name="connsiteY3" fmla="*/ 1415626 h 1415626"/>
              <a:gd name="connsiteX4" fmla="*/ 332470 w 2233179"/>
              <a:gd name="connsiteY4" fmla="*/ 1415626 h 1415626"/>
              <a:gd name="connsiteX5" fmla="*/ 323686 w 2233179"/>
              <a:gd name="connsiteY5" fmla="*/ 1405432 h 1415626"/>
              <a:gd name="connsiteX6" fmla="*/ 327410 w 2233179"/>
              <a:gd name="connsiteY6" fmla="*/ 1312311 h 1415626"/>
              <a:gd name="connsiteX7" fmla="*/ 506202 w 2233179"/>
              <a:gd name="connsiteY7" fmla="*/ 1077646 h 1415626"/>
              <a:gd name="connsiteX8" fmla="*/ 714793 w 2233179"/>
              <a:gd name="connsiteY8" fmla="*/ 943552 h 1415626"/>
              <a:gd name="connsiteX9" fmla="*/ 1333116 w 2233179"/>
              <a:gd name="connsiteY9" fmla="*/ 19792 h 1415626"/>
              <a:gd name="connsiteX10" fmla="*/ 1407613 w 2233179"/>
              <a:gd name="connsiteY10" fmla="*/ 68215 h 1415626"/>
              <a:gd name="connsiteX11" fmla="*/ 1523083 w 2233179"/>
              <a:gd name="connsiteY11" fmla="*/ 340129 h 1415626"/>
              <a:gd name="connsiteX12" fmla="*/ 1534257 w 2233179"/>
              <a:gd name="connsiteY12" fmla="*/ 589692 h 1415626"/>
              <a:gd name="connsiteX13" fmla="*/ 1135700 w 2233179"/>
              <a:gd name="connsiteY13" fmla="*/ 671639 h 1415626"/>
              <a:gd name="connsiteX14" fmla="*/ 655196 w 2233179"/>
              <a:gd name="connsiteY14" fmla="*/ 857881 h 1415626"/>
              <a:gd name="connsiteX15" fmla="*/ 442880 w 2233179"/>
              <a:gd name="connsiteY15" fmla="*/ 991975 h 1415626"/>
              <a:gd name="connsiteX16" fmla="*/ 264088 w 2233179"/>
              <a:gd name="connsiteY16" fmla="*/ 1226640 h 1415626"/>
              <a:gd name="connsiteX17" fmla="*/ 260363 w 2233179"/>
              <a:gd name="connsiteY17" fmla="*/ 1319761 h 1415626"/>
              <a:gd name="connsiteX18" fmla="*/ 66671 w 2233179"/>
              <a:gd name="connsiteY18" fmla="*/ 1003150 h 1415626"/>
              <a:gd name="connsiteX19" fmla="*/ 7074 w 2233179"/>
              <a:gd name="connsiteY19" fmla="*/ 686538 h 1415626"/>
              <a:gd name="connsiteX20" fmla="*/ 211940 w 2233179"/>
              <a:gd name="connsiteY20" fmla="*/ 440699 h 1415626"/>
              <a:gd name="connsiteX21" fmla="*/ 536001 w 2233179"/>
              <a:gd name="connsiteY21" fmla="*/ 254457 h 1415626"/>
              <a:gd name="connsiteX22" fmla="*/ 971807 w 2233179"/>
              <a:gd name="connsiteY22" fmla="*/ 98014 h 1415626"/>
              <a:gd name="connsiteX23" fmla="*/ 1333116 w 2233179"/>
              <a:gd name="connsiteY23" fmla="*/ 19792 h 1415626"/>
              <a:gd name="connsiteX24" fmla="*/ 1634828 w 2233179"/>
              <a:gd name="connsiteY24" fmla="*/ 238 h 1415626"/>
              <a:gd name="connsiteX25" fmla="*/ 1809896 w 2233179"/>
              <a:gd name="connsiteY25" fmla="*/ 4894 h 1415626"/>
              <a:gd name="connsiteX26" fmla="*/ 2111608 w 2233179"/>
              <a:gd name="connsiteY26" fmla="*/ 109189 h 1415626"/>
              <a:gd name="connsiteX27" fmla="*/ 2223352 w 2233179"/>
              <a:gd name="connsiteY27" fmla="*/ 407176 h 1415626"/>
              <a:gd name="connsiteX28" fmla="*/ 2223352 w 2233179"/>
              <a:gd name="connsiteY28" fmla="*/ 779660 h 1415626"/>
              <a:gd name="connsiteX29" fmla="*/ 2137681 w 2233179"/>
              <a:gd name="connsiteY29" fmla="*/ 1241539 h 1415626"/>
              <a:gd name="connsiteX30" fmla="*/ 2086795 w 2233179"/>
              <a:gd name="connsiteY30" fmla="*/ 1415626 h 1415626"/>
              <a:gd name="connsiteX31" fmla="*/ 1455950 w 2233179"/>
              <a:gd name="connsiteY31" fmla="*/ 1415626 h 1415626"/>
              <a:gd name="connsiteX32" fmla="*/ 1502597 w 2233179"/>
              <a:gd name="connsiteY32" fmla="*/ 1300206 h 1415626"/>
              <a:gd name="connsiteX33" fmla="*/ 1564057 w 2233179"/>
              <a:gd name="connsiteY33" fmla="*/ 1092546 h 1415626"/>
              <a:gd name="connsiteX34" fmla="*/ 1642278 w 2233179"/>
              <a:gd name="connsiteY34" fmla="*/ 585968 h 1415626"/>
              <a:gd name="connsiteX35" fmla="*/ 1631104 w 2233179"/>
              <a:gd name="connsiteY35" fmla="*/ 336404 h 1415626"/>
              <a:gd name="connsiteX36" fmla="*/ 1515634 w 2233179"/>
              <a:gd name="connsiteY36" fmla="*/ 60767 h 1415626"/>
              <a:gd name="connsiteX37" fmla="*/ 1437412 w 2233179"/>
              <a:gd name="connsiteY37" fmla="*/ 12343 h 1415626"/>
              <a:gd name="connsiteX38" fmla="*/ 1634828 w 2233179"/>
              <a:gd name="connsiteY38" fmla="*/ 238 h 14156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</a:cxnLst>
            <a:rect l="l" t="t" r="r" b="b"/>
            <a:pathLst>
              <a:path w="2233179" h="1415626">
                <a:moveTo>
                  <a:pt x="714793" y="943552"/>
                </a:moveTo>
                <a:cubicBezTo>
                  <a:pt x="785565" y="1044123"/>
                  <a:pt x="874961" y="1144694"/>
                  <a:pt x="982981" y="1252714"/>
                </a:cubicBezTo>
                <a:cubicBezTo>
                  <a:pt x="1018367" y="1287169"/>
                  <a:pt x="1053288" y="1319529"/>
                  <a:pt x="1087742" y="1349909"/>
                </a:cubicBezTo>
                <a:lnTo>
                  <a:pt x="1166280" y="1415626"/>
                </a:lnTo>
                <a:lnTo>
                  <a:pt x="332470" y="1415626"/>
                </a:lnTo>
                <a:lnTo>
                  <a:pt x="323686" y="1405432"/>
                </a:lnTo>
                <a:cubicBezTo>
                  <a:pt x="319961" y="1371909"/>
                  <a:pt x="319961" y="1342110"/>
                  <a:pt x="327410" y="1312311"/>
                </a:cubicBezTo>
                <a:cubicBezTo>
                  <a:pt x="349760" y="1219190"/>
                  <a:pt x="424256" y="1140969"/>
                  <a:pt x="506202" y="1077646"/>
                </a:cubicBezTo>
                <a:cubicBezTo>
                  <a:pt x="565800" y="1029224"/>
                  <a:pt x="636572" y="984526"/>
                  <a:pt x="714793" y="943552"/>
                </a:cubicBezTo>
                <a:close/>
                <a:moveTo>
                  <a:pt x="1333116" y="19792"/>
                </a:moveTo>
                <a:cubicBezTo>
                  <a:pt x="1362915" y="34692"/>
                  <a:pt x="1388988" y="49591"/>
                  <a:pt x="1407613" y="68215"/>
                </a:cubicBezTo>
                <a:cubicBezTo>
                  <a:pt x="1478385" y="131538"/>
                  <a:pt x="1508183" y="235833"/>
                  <a:pt x="1523083" y="340129"/>
                </a:cubicBezTo>
                <a:cubicBezTo>
                  <a:pt x="1534257" y="414625"/>
                  <a:pt x="1537982" y="500296"/>
                  <a:pt x="1534257" y="589692"/>
                </a:cubicBezTo>
                <a:cubicBezTo>
                  <a:pt x="1415063" y="600867"/>
                  <a:pt x="1280968" y="626941"/>
                  <a:pt x="1135700" y="671639"/>
                </a:cubicBezTo>
                <a:cubicBezTo>
                  <a:pt x="942008" y="723787"/>
                  <a:pt x="785565" y="787109"/>
                  <a:pt x="655196" y="857881"/>
                </a:cubicBezTo>
                <a:cubicBezTo>
                  <a:pt x="573249" y="898854"/>
                  <a:pt x="502477" y="943552"/>
                  <a:pt x="442880" y="991975"/>
                </a:cubicBezTo>
                <a:cubicBezTo>
                  <a:pt x="360934" y="1055297"/>
                  <a:pt x="282712" y="1137244"/>
                  <a:pt x="264088" y="1226640"/>
                </a:cubicBezTo>
                <a:cubicBezTo>
                  <a:pt x="256638" y="1256438"/>
                  <a:pt x="256638" y="1286237"/>
                  <a:pt x="260363" y="1319761"/>
                </a:cubicBezTo>
                <a:cubicBezTo>
                  <a:pt x="174692" y="1208015"/>
                  <a:pt x="115094" y="1103720"/>
                  <a:pt x="66671" y="1003150"/>
                </a:cubicBezTo>
                <a:cubicBezTo>
                  <a:pt x="18249" y="895129"/>
                  <a:pt x="-15275" y="779659"/>
                  <a:pt x="7074" y="686538"/>
                </a:cubicBezTo>
                <a:cubicBezTo>
                  <a:pt x="29423" y="593417"/>
                  <a:pt x="118819" y="507746"/>
                  <a:pt x="211940" y="440699"/>
                </a:cubicBezTo>
                <a:cubicBezTo>
                  <a:pt x="301336" y="377377"/>
                  <a:pt x="409356" y="314055"/>
                  <a:pt x="536001" y="254457"/>
                </a:cubicBezTo>
                <a:cubicBezTo>
                  <a:pt x="662645" y="198585"/>
                  <a:pt x="807914" y="146437"/>
                  <a:pt x="971807" y="98014"/>
                </a:cubicBezTo>
                <a:cubicBezTo>
                  <a:pt x="1102176" y="60766"/>
                  <a:pt x="1221371" y="34692"/>
                  <a:pt x="1333116" y="19792"/>
                </a:cubicBezTo>
                <a:close/>
                <a:moveTo>
                  <a:pt x="1634828" y="238"/>
                </a:moveTo>
                <a:cubicBezTo>
                  <a:pt x="1697219" y="-693"/>
                  <a:pt x="1755886" y="1169"/>
                  <a:pt x="1809896" y="4894"/>
                </a:cubicBezTo>
                <a:cubicBezTo>
                  <a:pt x="1925365" y="16069"/>
                  <a:pt x="2044560" y="42142"/>
                  <a:pt x="2111608" y="109189"/>
                </a:cubicBezTo>
                <a:cubicBezTo>
                  <a:pt x="2182379" y="176236"/>
                  <a:pt x="2212178" y="291706"/>
                  <a:pt x="2223352" y="407176"/>
                </a:cubicBezTo>
                <a:cubicBezTo>
                  <a:pt x="2234527" y="515196"/>
                  <a:pt x="2238252" y="638116"/>
                  <a:pt x="2223352" y="779660"/>
                </a:cubicBezTo>
                <a:cubicBezTo>
                  <a:pt x="2208453" y="917479"/>
                  <a:pt x="2182379" y="1070197"/>
                  <a:pt x="2137681" y="1241539"/>
                </a:cubicBezTo>
                <a:lnTo>
                  <a:pt x="2086795" y="1415626"/>
                </a:lnTo>
                <a:lnTo>
                  <a:pt x="1455950" y="1415626"/>
                </a:lnTo>
                <a:lnTo>
                  <a:pt x="1502597" y="1300206"/>
                </a:lnTo>
                <a:cubicBezTo>
                  <a:pt x="1524946" y="1235952"/>
                  <a:pt x="1545433" y="1167043"/>
                  <a:pt x="1564057" y="1092546"/>
                </a:cubicBezTo>
                <a:cubicBezTo>
                  <a:pt x="1612479" y="902579"/>
                  <a:pt x="1638553" y="734962"/>
                  <a:pt x="1642278" y="585968"/>
                </a:cubicBezTo>
                <a:cubicBezTo>
                  <a:pt x="1646003" y="496572"/>
                  <a:pt x="1642278" y="410901"/>
                  <a:pt x="1631104" y="336404"/>
                </a:cubicBezTo>
                <a:cubicBezTo>
                  <a:pt x="1616204" y="228384"/>
                  <a:pt x="1582681" y="124089"/>
                  <a:pt x="1515634" y="60767"/>
                </a:cubicBezTo>
                <a:cubicBezTo>
                  <a:pt x="1493285" y="42142"/>
                  <a:pt x="1467211" y="27243"/>
                  <a:pt x="1437412" y="12343"/>
                </a:cubicBezTo>
                <a:cubicBezTo>
                  <a:pt x="1506321" y="4894"/>
                  <a:pt x="1572437" y="1169"/>
                  <a:pt x="1634828" y="238"/>
                </a:cubicBezTo>
                <a:close/>
              </a:path>
            </a:pathLst>
          </a:custGeom>
          <a:gradFill>
            <a:gsLst>
              <a:gs pos="11000">
                <a:schemeClr val="bg1">
                  <a:alpha val="0"/>
                </a:schemeClr>
              </a:gs>
              <a:gs pos="89000">
                <a:schemeClr val="bg1">
                  <a:alpha val="10000"/>
                </a:schemeClr>
              </a:gs>
            </a:gsLst>
            <a:lin ang="17400000" scaled="0"/>
          </a:gra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4" name="Group 8">
            <a:extLst>
              <a:ext uri="{FF2B5EF4-FFF2-40B4-BE49-F238E27FC236}">
                <a16:creationId xmlns:a16="http://schemas.microsoft.com/office/drawing/2014/main" id="{8C3E298F-7A7F-4296-AC81-4AC7FB3DC83B}"/>
              </a:ext>
            </a:extLst>
          </p:cNvPr>
          <p:cNvGrpSpPr>
            <a:grpSpLocks noChangeAspect="1"/>
          </p:cNvGrpSpPr>
          <p:nvPr/>
        </p:nvGrpSpPr>
        <p:grpSpPr>
          <a:xfrm>
            <a:off x="10716016" y="350913"/>
            <a:ext cx="1138640" cy="356400"/>
            <a:chOff x="715963" y="1420813"/>
            <a:chExt cx="4321175" cy="1352550"/>
          </a:xfrm>
          <a:solidFill>
            <a:schemeClr val="bg1"/>
          </a:solidFill>
        </p:grpSpPr>
        <p:sp>
          <p:nvSpPr>
            <p:cNvPr id="25" name="Freeform 1">
              <a:extLst>
                <a:ext uri="{FF2B5EF4-FFF2-40B4-BE49-F238E27FC236}">
                  <a16:creationId xmlns:a16="http://schemas.microsoft.com/office/drawing/2014/main" id="{EF8DC138-89E1-4D4B-97A4-25254C9232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01788" y="2143125"/>
              <a:ext cx="374650" cy="425450"/>
            </a:xfrm>
            <a:custGeom>
              <a:avLst/>
              <a:gdLst>
                <a:gd name="T0" fmla="*/ 482 w 1042"/>
                <a:gd name="T1" fmla="*/ 2 h 1180"/>
                <a:gd name="T2" fmla="*/ 687 w 1042"/>
                <a:gd name="T3" fmla="*/ 9 h 1180"/>
                <a:gd name="T4" fmla="*/ 992 w 1042"/>
                <a:gd name="T5" fmla="*/ 280 h 1180"/>
                <a:gd name="T6" fmla="*/ 792 w 1042"/>
                <a:gd name="T7" fmla="*/ 529 h 1180"/>
                <a:gd name="T8" fmla="*/ 792 w 1042"/>
                <a:gd name="T9" fmla="*/ 538 h 1180"/>
                <a:gd name="T10" fmla="*/ 1041 w 1042"/>
                <a:gd name="T11" fmla="*/ 818 h 1180"/>
                <a:gd name="T12" fmla="*/ 568 w 1042"/>
                <a:gd name="T13" fmla="*/ 1178 h 1180"/>
                <a:gd name="T14" fmla="*/ 405 w 1042"/>
                <a:gd name="T15" fmla="*/ 1179 h 1180"/>
                <a:gd name="T16" fmla="*/ 0 w 1042"/>
                <a:gd name="T17" fmla="*/ 1179 h 1180"/>
                <a:gd name="T18" fmla="*/ 0 w 1042"/>
                <a:gd name="T19" fmla="*/ 2 h 1180"/>
                <a:gd name="T20" fmla="*/ 482 w 1042"/>
                <a:gd name="T21" fmla="*/ 2 h 1180"/>
                <a:gd name="T22" fmla="*/ 338 w 1042"/>
                <a:gd name="T23" fmla="*/ 955 h 1180"/>
                <a:gd name="T24" fmla="*/ 475 w 1042"/>
                <a:gd name="T25" fmla="*/ 955 h 1180"/>
                <a:gd name="T26" fmla="*/ 706 w 1042"/>
                <a:gd name="T27" fmla="*/ 808 h 1180"/>
                <a:gd name="T28" fmla="*/ 459 w 1042"/>
                <a:gd name="T29" fmla="*/ 666 h 1180"/>
                <a:gd name="T30" fmla="*/ 338 w 1042"/>
                <a:gd name="T31" fmla="*/ 666 h 1180"/>
                <a:gd name="T32" fmla="*/ 338 w 1042"/>
                <a:gd name="T33" fmla="*/ 955 h 1180"/>
                <a:gd name="T34" fmla="*/ 345 w 1042"/>
                <a:gd name="T35" fmla="*/ 459 h 1180"/>
                <a:gd name="T36" fmla="*/ 447 w 1042"/>
                <a:gd name="T37" fmla="*/ 459 h 1180"/>
                <a:gd name="T38" fmla="*/ 671 w 1042"/>
                <a:gd name="T39" fmla="*/ 340 h 1180"/>
                <a:gd name="T40" fmla="*/ 482 w 1042"/>
                <a:gd name="T41" fmla="*/ 226 h 1180"/>
                <a:gd name="T42" fmla="*/ 344 w 1042"/>
                <a:gd name="T43" fmla="*/ 226 h 1180"/>
                <a:gd name="T44" fmla="*/ 344 w 1042"/>
                <a:gd name="T45" fmla="*/ 459 h 1180"/>
                <a:gd name="T46" fmla="*/ 345 w 1042"/>
                <a:gd name="T47" fmla="*/ 459 h 1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42" h="1180">
                  <a:moveTo>
                    <a:pt x="482" y="2"/>
                  </a:moveTo>
                  <a:cubicBezTo>
                    <a:pt x="539" y="1"/>
                    <a:pt x="621" y="0"/>
                    <a:pt x="687" y="9"/>
                  </a:cubicBezTo>
                  <a:cubicBezTo>
                    <a:pt x="838" y="29"/>
                    <a:pt x="992" y="96"/>
                    <a:pt x="992" y="280"/>
                  </a:cubicBezTo>
                  <a:cubicBezTo>
                    <a:pt x="992" y="433"/>
                    <a:pt x="901" y="506"/>
                    <a:pt x="792" y="529"/>
                  </a:cubicBezTo>
                  <a:lnTo>
                    <a:pt x="792" y="538"/>
                  </a:lnTo>
                  <a:cubicBezTo>
                    <a:pt x="950" y="566"/>
                    <a:pt x="1041" y="650"/>
                    <a:pt x="1041" y="818"/>
                  </a:cubicBezTo>
                  <a:cubicBezTo>
                    <a:pt x="1041" y="1092"/>
                    <a:pt x="780" y="1167"/>
                    <a:pt x="568" y="1178"/>
                  </a:cubicBezTo>
                  <a:cubicBezTo>
                    <a:pt x="516" y="1179"/>
                    <a:pt x="450" y="1179"/>
                    <a:pt x="405" y="1179"/>
                  </a:cubicBezTo>
                  <a:lnTo>
                    <a:pt x="0" y="1179"/>
                  </a:lnTo>
                  <a:lnTo>
                    <a:pt x="0" y="2"/>
                  </a:lnTo>
                  <a:lnTo>
                    <a:pt x="482" y="2"/>
                  </a:lnTo>
                  <a:close/>
                  <a:moveTo>
                    <a:pt x="338" y="955"/>
                  </a:moveTo>
                  <a:lnTo>
                    <a:pt x="475" y="955"/>
                  </a:lnTo>
                  <a:cubicBezTo>
                    <a:pt x="591" y="955"/>
                    <a:pt x="706" y="920"/>
                    <a:pt x="706" y="808"/>
                  </a:cubicBezTo>
                  <a:cubicBezTo>
                    <a:pt x="706" y="704"/>
                    <a:pt x="619" y="666"/>
                    <a:pt x="459" y="666"/>
                  </a:cubicBezTo>
                  <a:lnTo>
                    <a:pt x="338" y="666"/>
                  </a:lnTo>
                  <a:lnTo>
                    <a:pt x="338" y="955"/>
                  </a:lnTo>
                  <a:close/>
                  <a:moveTo>
                    <a:pt x="345" y="459"/>
                  </a:moveTo>
                  <a:lnTo>
                    <a:pt x="447" y="459"/>
                  </a:lnTo>
                  <a:cubicBezTo>
                    <a:pt x="587" y="459"/>
                    <a:pt x="671" y="431"/>
                    <a:pt x="671" y="340"/>
                  </a:cubicBezTo>
                  <a:cubicBezTo>
                    <a:pt x="671" y="268"/>
                    <a:pt x="619" y="226"/>
                    <a:pt x="482" y="226"/>
                  </a:cubicBezTo>
                  <a:lnTo>
                    <a:pt x="344" y="226"/>
                  </a:lnTo>
                  <a:lnTo>
                    <a:pt x="344" y="459"/>
                  </a:lnTo>
                  <a:lnTo>
                    <a:pt x="345" y="459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" name="Freeform 2">
              <a:extLst>
                <a:ext uri="{FF2B5EF4-FFF2-40B4-BE49-F238E27FC236}">
                  <a16:creationId xmlns:a16="http://schemas.microsoft.com/office/drawing/2014/main" id="{9EE4BF46-BAFC-4839-BB25-491A15A4455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5963" y="1971675"/>
              <a:ext cx="3636962" cy="801688"/>
            </a:xfrm>
            <a:custGeom>
              <a:avLst/>
              <a:gdLst>
                <a:gd name="T0" fmla="*/ 0 w 10102"/>
                <a:gd name="T1" fmla="*/ 847 h 2228"/>
                <a:gd name="T2" fmla="*/ 1235 w 10102"/>
                <a:gd name="T3" fmla="*/ 75 h 2228"/>
                <a:gd name="T4" fmla="*/ 874 w 10102"/>
                <a:gd name="T5" fmla="*/ 275 h 2228"/>
                <a:gd name="T6" fmla="*/ 841 w 10102"/>
                <a:gd name="T7" fmla="*/ 1388 h 2228"/>
                <a:gd name="T8" fmla="*/ 1293 w 10102"/>
                <a:gd name="T9" fmla="*/ 1528 h 2228"/>
                <a:gd name="T10" fmla="*/ 6541 w 10102"/>
                <a:gd name="T11" fmla="*/ 1677 h 2228"/>
                <a:gd name="T12" fmla="*/ 6569 w 10102"/>
                <a:gd name="T13" fmla="*/ 454 h 2228"/>
                <a:gd name="T14" fmla="*/ 6863 w 10102"/>
                <a:gd name="T15" fmla="*/ 787 h 2228"/>
                <a:gd name="T16" fmla="*/ 6306 w 10102"/>
                <a:gd name="T17" fmla="*/ 1053 h 2228"/>
                <a:gd name="T18" fmla="*/ 6842 w 10102"/>
                <a:gd name="T19" fmla="*/ 1348 h 2228"/>
                <a:gd name="T20" fmla="*/ 6541 w 10102"/>
                <a:gd name="T21" fmla="*/ 1677 h 2228"/>
                <a:gd name="T22" fmla="*/ 7585 w 10102"/>
                <a:gd name="T23" fmla="*/ 1654 h 2228"/>
                <a:gd name="T24" fmla="*/ 7250 w 10102"/>
                <a:gd name="T25" fmla="*/ 743 h 2228"/>
                <a:gd name="T26" fmla="*/ 6924 w 10102"/>
                <a:gd name="T27" fmla="*/ 477 h 2228"/>
                <a:gd name="T28" fmla="*/ 7870 w 10102"/>
                <a:gd name="T29" fmla="*/ 743 h 2228"/>
                <a:gd name="T30" fmla="*/ 9197 w 10102"/>
                <a:gd name="T31" fmla="*/ 614 h 2228"/>
                <a:gd name="T32" fmla="*/ 8951 w 10102"/>
                <a:gd name="T33" fmla="*/ 1428 h 2228"/>
                <a:gd name="T34" fmla="*/ 9321 w 10102"/>
                <a:gd name="T35" fmla="*/ 1560 h 2228"/>
                <a:gd name="T36" fmla="*/ 9503 w 10102"/>
                <a:gd name="T37" fmla="*/ 801 h 2228"/>
                <a:gd name="T38" fmla="*/ 9765 w 10102"/>
                <a:gd name="T39" fmla="*/ 743 h 2228"/>
                <a:gd name="T40" fmla="*/ 10101 w 10102"/>
                <a:gd name="T41" fmla="*/ 1654 h 2228"/>
                <a:gd name="T42" fmla="*/ 9197 w 10102"/>
                <a:gd name="T43" fmla="*/ 477 h 2228"/>
                <a:gd name="T44" fmla="*/ 1904 w 10102"/>
                <a:gd name="T45" fmla="*/ 1414 h 2228"/>
                <a:gd name="T46" fmla="*/ 2311 w 10102"/>
                <a:gd name="T47" fmla="*/ 1542 h 2228"/>
                <a:gd name="T48" fmla="*/ 1256 w 10102"/>
                <a:gd name="T49" fmla="*/ 1069 h 2228"/>
                <a:gd name="T50" fmla="*/ 2351 w 10102"/>
                <a:gd name="T51" fmla="*/ 1055 h 2228"/>
                <a:gd name="T52" fmla="*/ 1591 w 10102"/>
                <a:gd name="T53" fmla="*/ 1157 h 2228"/>
                <a:gd name="T54" fmla="*/ 1796 w 10102"/>
                <a:gd name="T55" fmla="*/ 698 h 2228"/>
                <a:gd name="T56" fmla="*/ 2008 w 10102"/>
                <a:gd name="T57" fmla="*/ 927 h 2228"/>
                <a:gd name="T58" fmla="*/ 4215 w 10102"/>
                <a:gd name="T59" fmla="*/ 1414 h 2228"/>
                <a:gd name="T60" fmla="*/ 4623 w 10102"/>
                <a:gd name="T61" fmla="*/ 1542 h 2228"/>
                <a:gd name="T62" fmla="*/ 3567 w 10102"/>
                <a:gd name="T63" fmla="*/ 1069 h 2228"/>
                <a:gd name="T64" fmla="*/ 4662 w 10102"/>
                <a:gd name="T65" fmla="*/ 1055 h 2228"/>
                <a:gd name="T66" fmla="*/ 3903 w 10102"/>
                <a:gd name="T67" fmla="*/ 1157 h 2228"/>
                <a:gd name="T68" fmla="*/ 4108 w 10102"/>
                <a:gd name="T69" fmla="*/ 698 h 2228"/>
                <a:gd name="T70" fmla="*/ 4320 w 10102"/>
                <a:gd name="T71" fmla="*/ 927 h 2228"/>
                <a:gd name="T72" fmla="*/ 8596 w 10102"/>
                <a:gd name="T73" fmla="*/ 1549 h 2228"/>
                <a:gd name="T74" fmla="*/ 7881 w 10102"/>
                <a:gd name="T75" fmla="*/ 1295 h 2228"/>
                <a:gd name="T76" fmla="*/ 8578 w 10102"/>
                <a:gd name="T77" fmla="*/ 901 h 2228"/>
                <a:gd name="T78" fmla="*/ 8361 w 10102"/>
                <a:gd name="T79" fmla="*/ 705 h 2228"/>
                <a:gd name="T80" fmla="*/ 7960 w 10102"/>
                <a:gd name="T81" fmla="*/ 582 h 2228"/>
                <a:gd name="T82" fmla="*/ 8911 w 10102"/>
                <a:gd name="T83" fmla="*/ 887 h 2228"/>
                <a:gd name="T84" fmla="*/ 8650 w 10102"/>
                <a:gd name="T85" fmla="*/ 1654 h 2228"/>
                <a:gd name="T86" fmla="*/ 8429 w 10102"/>
                <a:gd name="T87" fmla="*/ 1127 h 2228"/>
                <a:gd name="T88" fmla="*/ 8394 w 10102"/>
                <a:gd name="T89" fmla="*/ 1416 h 2228"/>
                <a:gd name="T90" fmla="*/ 8575 w 10102"/>
                <a:gd name="T91" fmla="*/ 1122 h 2228"/>
                <a:gd name="T92" fmla="*/ 5105 w 10102"/>
                <a:gd name="T93" fmla="*/ 1628 h 2228"/>
                <a:gd name="T94" fmla="*/ 4769 w 10102"/>
                <a:gd name="T95" fmla="*/ 2227 h 2228"/>
                <a:gd name="T96" fmla="*/ 5051 w 10102"/>
                <a:gd name="T97" fmla="*/ 477 h 2228"/>
                <a:gd name="T98" fmla="*/ 5406 w 10102"/>
                <a:gd name="T99" fmla="*/ 454 h 2228"/>
                <a:gd name="T100" fmla="*/ 5331 w 10102"/>
                <a:gd name="T101" fmla="*/ 1677 h 2228"/>
                <a:gd name="T102" fmla="*/ 5105 w 10102"/>
                <a:gd name="T103" fmla="*/ 831 h 2228"/>
                <a:gd name="T104" fmla="*/ 5249 w 10102"/>
                <a:gd name="T105" fmla="*/ 1435 h 2228"/>
                <a:gd name="T106" fmla="*/ 5338 w 10102"/>
                <a:gd name="T107" fmla="*/ 698 h 2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0102" h="2228">
                  <a:moveTo>
                    <a:pt x="787" y="1677"/>
                  </a:moveTo>
                  <a:cubicBezTo>
                    <a:pt x="277" y="1677"/>
                    <a:pt x="0" y="1309"/>
                    <a:pt x="0" y="847"/>
                  </a:cubicBezTo>
                  <a:cubicBezTo>
                    <a:pt x="0" y="381"/>
                    <a:pt x="326" y="0"/>
                    <a:pt x="862" y="0"/>
                  </a:cubicBezTo>
                  <a:cubicBezTo>
                    <a:pt x="1004" y="0"/>
                    <a:pt x="1127" y="19"/>
                    <a:pt x="1235" y="75"/>
                  </a:cubicBezTo>
                  <a:lnTo>
                    <a:pt x="1235" y="374"/>
                  </a:lnTo>
                  <a:cubicBezTo>
                    <a:pt x="1093" y="292"/>
                    <a:pt x="978" y="275"/>
                    <a:pt x="874" y="275"/>
                  </a:cubicBezTo>
                  <a:cubicBezTo>
                    <a:pt x="510" y="275"/>
                    <a:pt x="368" y="542"/>
                    <a:pt x="368" y="824"/>
                  </a:cubicBezTo>
                  <a:cubicBezTo>
                    <a:pt x="368" y="1139"/>
                    <a:pt x="545" y="1388"/>
                    <a:pt x="841" y="1388"/>
                  </a:cubicBezTo>
                  <a:cubicBezTo>
                    <a:pt x="972" y="1388"/>
                    <a:pt x="1079" y="1358"/>
                    <a:pt x="1204" y="1290"/>
                  </a:cubicBezTo>
                  <a:lnTo>
                    <a:pt x="1293" y="1528"/>
                  </a:lnTo>
                  <a:cubicBezTo>
                    <a:pt x="1104" y="1647"/>
                    <a:pt x="944" y="1677"/>
                    <a:pt x="787" y="1677"/>
                  </a:cubicBezTo>
                  <a:close/>
                  <a:moveTo>
                    <a:pt x="6541" y="1677"/>
                  </a:moveTo>
                  <a:cubicBezTo>
                    <a:pt x="6164" y="1677"/>
                    <a:pt x="5972" y="1400"/>
                    <a:pt x="5972" y="1069"/>
                  </a:cubicBezTo>
                  <a:cubicBezTo>
                    <a:pt x="5972" y="698"/>
                    <a:pt x="6227" y="454"/>
                    <a:pt x="6569" y="454"/>
                  </a:cubicBezTo>
                  <a:cubicBezTo>
                    <a:pt x="6721" y="454"/>
                    <a:pt x="6800" y="484"/>
                    <a:pt x="6863" y="521"/>
                  </a:cubicBezTo>
                  <a:lnTo>
                    <a:pt x="6863" y="787"/>
                  </a:lnTo>
                  <a:cubicBezTo>
                    <a:pt x="6779" y="726"/>
                    <a:pt x="6712" y="705"/>
                    <a:pt x="6618" y="705"/>
                  </a:cubicBezTo>
                  <a:cubicBezTo>
                    <a:pt x="6425" y="705"/>
                    <a:pt x="6306" y="847"/>
                    <a:pt x="6306" y="1053"/>
                  </a:cubicBezTo>
                  <a:cubicBezTo>
                    <a:pt x="6306" y="1236"/>
                    <a:pt x="6397" y="1416"/>
                    <a:pt x="6614" y="1416"/>
                  </a:cubicBezTo>
                  <a:cubicBezTo>
                    <a:pt x="6674" y="1416"/>
                    <a:pt x="6756" y="1393"/>
                    <a:pt x="6842" y="1348"/>
                  </a:cubicBezTo>
                  <a:lnTo>
                    <a:pt x="6921" y="1565"/>
                  </a:lnTo>
                  <a:cubicBezTo>
                    <a:pt x="6823" y="1630"/>
                    <a:pt x="6660" y="1677"/>
                    <a:pt x="6541" y="1677"/>
                  </a:cubicBezTo>
                  <a:close/>
                  <a:moveTo>
                    <a:pt x="7585" y="743"/>
                  </a:moveTo>
                  <a:lnTo>
                    <a:pt x="7585" y="1654"/>
                  </a:lnTo>
                  <a:lnTo>
                    <a:pt x="7250" y="1654"/>
                  </a:lnTo>
                  <a:lnTo>
                    <a:pt x="7250" y="743"/>
                  </a:lnTo>
                  <a:lnTo>
                    <a:pt x="6924" y="743"/>
                  </a:lnTo>
                  <a:lnTo>
                    <a:pt x="6924" y="477"/>
                  </a:lnTo>
                  <a:lnTo>
                    <a:pt x="7953" y="477"/>
                  </a:lnTo>
                  <a:lnTo>
                    <a:pt x="7870" y="743"/>
                  </a:lnTo>
                  <a:lnTo>
                    <a:pt x="7585" y="743"/>
                  </a:lnTo>
                  <a:close/>
                  <a:moveTo>
                    <a:pt x="9197" y="614"/>
                  </a:moveTo>
                  <a:cubicBezTo>
                    <a:pt x="9197" y="1024"/>
                    <a:pt x="9181" y="1239"/>
                    <a:pt x="9107" y="1337"/>
                  </a:cubicBezTo>
                  <a:cubicBezTo>
                    <a:pt x="9069" y="1386"/>
                    <a:pt x="9011" y="1418"/>
                    <a:pt x="8951" y="1428"/>
                  </a:cubicBezTo>
                  <a:lnTo>
                    <a:pt x="9044" y="1677"/>
                  </a:lnTo>
                  <a:cubicBezTo>
                    <a:pt x="9121" y="1674"/>
                    <a:pt x="9239" y="1642"/>
                    <a:pt x="9321" y="1560"/>
                  </a:cubicBezTo>
                  <a:cubicBezTo>
                    <a:pt x="9428" y="1456"/>
                    <a:pt x="9463" y="1323"/>
                    <a:pt x="9479" y="1183"/>
                  </a:cubicBezTo>
                  <a:cubicBezTo>
                    <a:pt x="9494" y="1064"/>
                    <a:pt x="9503" y="924"/>
                    <a:pt x="9503" y="801"/>
                  </a:cubicBezTo>
                  <a:lnTo>
                    <a:pt x="9503" y="743"/>
                  </a:lnTo>
                  <a:lnTo>
                    <a:pt x="9765" y="743"/>
                  </a:lnTo>
                  <a:lnTo>
                    <a:pt x="9765" y="1654"/>
                  </a:lnTo>
                  <a:lnTo>
                    <a:pt x="10101" y="1654"/>
                  </a:lnTo>
                  <a:lnTo>
                    <a:pt x="10101" y="477"/>
                  </a:lnTo>
                  <a:lnTo>
                    <a:pt x="9197" y="477"/>
                  </a:lnTo>
                  <a:lnTo>
                    <a:pt x="9197" y="614"/>
                  </a:lnTo>
                  <a:close/>
                  <a:moveTo>
                    <a:pt x="1904" y="1414"/>
                  </a:moveTo>
                  <a:cubicBezTo>
                    <a:pt x="2018" y="1414"/>
                    <a:pt x="2104" y="1393"/>
                    <a:pt x="2237" y="1330"/>
                  </a:cubicBezTo>
                  <a:lnTo>
                    <a:pt x="2311" y="1542"/>
                  </a:lnTo>
                  <a:cubicBezTo>
                    <a:pt x="2148" y="1644"/>
                    <a:pt x="1990" y="1677"/>
                    <a:pt x="1848" y="1677"/>
                  </a:cubicBezTo>
                  <a:cubicBezTo>
                    <a:pt x="1428" y="1677"/>
                    <a:pt x="1256" y="1379"/>
                    <a:pt x="1256" y="1069"/>
                  </a:cubicBezTo>
                  <a:cubicBezTo>
                    <a:pt x="1256" y="738"/>
                    <a:pt x="1454" y="454"/>
                    <a:pt x="1805" y="454"/>
                  </a:cubicBezTo>
                  <a:cubicBezTo>
                    <a:pt x="2127" y="454"/>
                    <a:pt x="2351" y="691"/>
                    <a:pt x="2351" y="1055"/>
                  </a:cubicBezTo>
                  <a:lnTo>
                    <a:pt x="2351" y="1157"/>
                  </a:lnTo>
                  <a:lnTo>
                    <a:pt x="1591" y="1157"/>
                  </a:lnTo>
                  <a:cubicBezTo>
                    <a:pt x="1598" y="1316"/>
                    <a:pt x="1748" y="1414"/>
                    <a:pt x="1904" y="1414"/>
                  </a:cubicBezTo>
                  <a:close/>
                  <a:moveTo>
                    <a:pt x="1796" y="698"/>
                  </a:moveTo>
                  <a:cubicBezTo>
                    <a:pt x="1661" y="698"/>
                    <a:pt x="1584" y="819"/>
                    <a:pt x="1584" y="927"/>
                  </a:cubicBezTo>
                  <a:lnTo>
                    <a:pt x="2008" y="927"/>
                  </a:lnTo>
                  <a:cubicBezTo>
                    <a:pt x="2001" y="815"/>
                    <a:pt x="1938" y="698"/>
                    <a:pt x="1796" y="698"/>
                  </a:cubicBezTo>
                  <a:close/>
                  <a:moveTo>
                    <a:pt x="4215" y="1414"/>
                  </a:moveTo>
                  <a:cubicBezTo>
                    <a:pt x="4329" y="1414"/>
                    <a:pt x="4415" y="1393"/>
                    <a:pt x="4548" y="1330"/>
                  </a:cubicBezTo>
                  <a:lnTo>
                    <a:pt x="4623" y="1542"/>
                  </a:lnTo>
                  <a:cubicBezTo>
                    <a:pt x="4459" y="1644"/>
                    <a:pt x="4301" y="1677"/>
                    <a:pt x="4159" y="1677"/>
                  </a:cubicBezTo>
                  <a:cubicBezTo>
                    <a:pt x="3740" y="1677"/>
                    <a:pt x="3567" y="1379"/>
                    <a:pt x="3567" y="1069"/>
                  </a:cubicBezTo>
                  <a:cubicBezTo>
                    <a:pt x="3567" y="738"/>
                    <a:pt x="3765" y="454"/>
                    <a:pt x="4117" y="454"/>
                  </a:cubicBezTo>
                  <a:cubicBezTo>
                    <a:pt x="4438" y="454"/>
                    <a:pt x="4662" y="691"/>
                    <a:pt x="4662" y="1055"/>
                  </a:cubicBezTo>
                  <a:lnTo>
                    <a:pt x="4662" y="1157"/>
                  </a:lnTo>
                  <a:lnTo>
                    <a:pt x="3903" y="1157"/>
                  </a:lnTo>
                  <a:cubicBezTo>
                    <a:pt x="3910" y="1316"/>
                    <a:pt x="4059" y="1414"/>
                    <a:pt x="4215" y="1414"/>
                  </a:cubicBezTo>
                  <a:close/>
                  <a:moveTo>
                    <a:pt x="4108" y="698"/>
                  </a:moveTo>
                  <a:cubicBezTo>
                    <a:pt x="3973" y="698"/>
                    <a:pt x="3895" y="819"/>
                    <a:pt x="3895" y="927"/>
                  </a:cubicBezTo>
                  <a:lnTo>
                    <a:pt x="4320" y="927"/>
                  </a:lnTo>
                  <a:cubicBezTo>
                    <a:pt x="4313" y="815"/>
                    <a:pt x="4250" y="698"/>
                    <a:pt x="4108" y="698"/>
                  </a:cubicBezTo>
                  <a:close/>
                  <a:moveTo>
                    <a:pt x="8596" y="1549"/>
                  </a:moveTo>
                  <a:cubicBezTo>
                    <a:pt x="8517" y="1621"/>
                    <a:pt x="8424" y="1677"/>
                    <a:pt x="8273" y="1677"/>
                  </a:cubicBezTo>
                  <a:cubicBezTo>
                    <a:pt x="8049" y="1677"/>
                    <a:pt x="7881" y="1528"/>
                    <a:pt x="7881" y="1295"/>
                  </a:cubicBezTo>
                  <a:cubicBezTo>
                    <a:pt x="7881" y="1045"/>
                    <a:pt x="8082" y="917"/>
                    <a:pt x="8380" y="908"/>
                  </a:cubicBezTo>
                  <a:lnTo>
                    <a:pt x="8578" y="901"/>
                  </a:lnTo>
                  <a:lnTo>
                    <a:pt x="8578" y="878"/>
                  </a:lnTo>
                  <a:cubicBezTo>
                    <a:pt x="8578" y="754"/>
                    <a:pt x="8478" y="705"/>
                    <a:pt x="8361" y="705"/>
                  </a:cubicBezTo>
                  <a:cubicBezTo>
                    <a:pt x="8242" y="705"/>
                    <a:pt x="8140" y="740"/>
                    <a:pt x="8063" y="787"/>
                  </a:cubicBezTo>
                  <a:lnTo>
                    <a:pt x="7960" y="582"/>
                  </a:lnTo>
                  <a:cubicBezTo>
                    <a:pt x="8121" y="477"/>
                    <a:pt x="8275" y="454"/>
                    <a:pt x="8436" y="454"/>
                  </a:cubicBezTo>
                  <a:cubicBezTo>
                    <a:pt x="8746" y="454"/>
                    <a:pt x="8911" y="577"/>
                    <a:pt x="8911" y="887"/>
                  </a:cubicBezTo>
                  <a:lnTo>
                    <a:pt x="8911" y="1654"/>
                  </a:lnTo>
                  <a:lnTo>
                    <a:pt x="8650" y="1654"/>
                  </a:lnTo>
                  <a:lnTo>
                    <a:pt x="8596" y="1549"/>
                  </a:lnTo>
                  <a:close/>
                  <a:moveTo>
                    <a:pt x="8429" y="1127"/>
                  </a:moveTo>
                  <a:cubicBezTo>
                    <a:pt x="8284" y="1132"/>
                    <a:pt x="8217" y="1181"/>
                    <a:pt x="8217" y="1269"/>
                  </a:cubicBezTo>
                  <a:cubicBezTo>
                    <a:pt x="8217" y="1360"/>
                    <a:pt x="8279" y="1416"/>
                    <a:pt x="8394" y="1416"/>
                  </a:cubicBezTo>
                  <a:cubicBezTo>
                    <a:pt x="8482" y="1416"/>
                    <a:pt x="8545" y="1388"/>
                    <a:pt x="8575" y="1362"/>
                  </a:cubicBezTo>
                  <a:lnTo>
                    <a:pt x="8575" y="1122"/>
                  </a:lnTo>
                  <a:lnTo>
                    <a:pt x="8429" y="1127"/>
                  </a:lnTo>
                  <a:close/>
                  <a:moveTo>
                    <a:pt x="5105" y="1628"/>
                  </a:moveTo>
                  <a:lnTo>
                    <a:pt x="5105" y="2124"/>
                  </a:lnTo>
                  <a:lnTo>
                    <a:pt x="4769" y="2227"/>
                  </a:lnTo>
                  <a:lnTo>
                    <a:pt x="4769" y="477"/>
                  </a:lnTo>
                  <a:lnTo>
                    <a:pt x="5051" y="477"/>
                  </a:lnTo>
                  <a:lnTo>
                    <a:pt x="5089" y="584"/>
                  </a:lnTo>
                  <a:cubicBezTo>
                    <a:pt x="5175" y="517"/>
                    <a:pt x="5275" y="454"/>
                    <a:pt x="5406" y="454"/>
                  </a:cubicBezTo>
                  <a:cubicBezTo>
                    <a:pt x="5676" y="454"/>
                    <a:pt x="5888" y="659"/>
                    <a:pt x="5888" y="1031"/>
                  </a:cubicBezTo>
                  <a:cubicBezTo>
                    <a:pt x="5888" y="1381"/>
                    <a:pt x="5678" y="1677"/>
                    <a:pt x="5331" y="1677"/>
                  </a:cubicBezTo>
                  <a:cubicBezTo>
                    <a:pt x="5245" y="1677"/>
                    <a:pt x="5165" y="1660"/>
                    <a:pt x="5105" y="1628"/>
                  </a:cubicBezTo>
                  <a:close/>
                  <a:moveTo>
                    <a:pt x="5105" y="831"/>
                  </a:moveTo>
                  <a:lnTo>
                    <a:pt x="5105" y="1388"/>
                  </a:lnTo>
                  <a:cubicBezTo>
                    <a:pt x="5142" y="1414"/>
                    <a:pt x="5189" y="1435"/>
                    <a:pt x="5249" y="1435"/>
                  </a:cubicBezTo>
                  <a:cubicBezTo>
                    <a:pt x="5478" y="1435"/>
                    <a:pt x="5552" y="1227"/>
                    <a:pt x="5552" y="1027"/>
                  </a:cubicBezTo>
                  <a:cubicBezTo>
                    <a:pt x="5552" y="784"/>
                    <a:pt x="5473" y="698"/>
                    <a:pt x="5338" y="698"/>
                  </a:cubicBezTo>
                  <a:cubicBezTo>
                    <a:pt x="5249" y="698"/>
                    <a:pt x="5145" y="770"/>
                    <a:pt x="5105" y="831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" name="Freeform 3">
              <a:extLst>
                <a:ext uri="{FF2B5EF4-FFF2-40B4-BE49-F238E27FC236}">
                  <a16:creationId xmlns:a16="http://schemas.microsoft.com/office/drawing/2014/main" id="{749C4336-2EE2-4F6A-BDFF-5394D01C30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02138" y="2125663"/>
              <a:ext cx="371475" cy="441325"/>
            </a:xfrm>
            <a:custGeom>
              <a:avLst/>
              <a:gdLst>
                <a:gd name="T0" fmla="*/ 336 w 1033"/>
                <a:gd name="T1" fmla="*/ 433 h 1228"/>
                <a:gd name="T2" fmla="*/ 336 w 1033"/>
                <a:gd name="T3" fmla="*/ 0 h 1228"/>
                <a:gd name="T4" fmla="*/ 0 w 1033"/>
                <a:gd name="T5" fmla="*/ 102 h 1228"/>
                <a:gd name="T6" fmla="*/ 0 w 1033"/>
                <a:gd name="T7" fmla="*/ 1227 h 1228"/>
                <a:gd name="T8" fmla="*/ 429 w 1033"/>
                <a:gd name="T9" fmla="*/ 1227 h 1228"/>
                <a:gd name="T10" fmla="*/ 1032 w 1033"/>
                <a:gd name="T11" fmla="*/ 820 h 1228"/>
                <a:gd name="T12" fmla="*/ 508 w 1033"/>
                <a:gd name="T13" fmla="*/ 433 h 1228"/>
                <a:gd name="T14" fmla="*/ 336 w 1033"/>
                <a:gd name="T15" fmla="*/ 433 h 1228"/>
                <a:gd name="T16" fmla="*/ 336 w 1033"/>
                <a:gd name="T17" fmla="*/ 666 h 1228"/>
                <a:gd name="T18" fmla="*/ 447 w 1033"/>
                <a:gd name="T19" fmla="*/ 666 h 1228"/>
                <a:gd name="T20" fmla="*/ 697 w 1033"/>
                <a:gd name="T21" fmla="*/ 824 h 1228"/>
                <a:gd name="T22" fmla="*/ 452 w 1033"/>
                <a:gd name="T23" fmla="*/ 994 h 1228"/>
                <a:gd name="T24" fmla="*/ 336 w 1033"/>
                <a:gd name="T25" fmla="*/ 994 h 1228"/>
                <a:gd name="T26" fmla="*/ 336 w 1033"/>
                <a:gd name="T27" fmla="*/ 666 h 1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33" h="1228">
                  <a:moveTo>
                    <a:pt x="336" y="433"/>
                  </a:moveTo>
                  <a:lnTo>
                    <a:pt x="336" y="0"/>
                  </a:lnTo>
                  <a:lnTo>
                    <a:pt x="0" y="102"/>
                  </a:lnTo>
                  <a:lnTo>
                    <a:pt x="0" y="1227"/>
                  </a:lnTo>
                  <a:lnTo>
                    <a:pt x="429" y="1227"/>
                  </a:lnTo>
                  <a:cubicBezTo>
                    <a:pt x="741" y="1227"/>
                    <a:pt x="1032" y="1144"/>
                    <a:pt x="1032" y="820"/>
                  </a:cubicBezTo>
                  <a:cubicBezTo>
                    <a:pt x="1032" y="545"/>
                    <a:pt x="797" y="433"/>
                    <a:pt x="508" y="433"/>
                  </a:cubicBezTo>
                  <a:lnTo>
                    <a:pt x="336" y="433"/>
                  </a:lnTo>
                  <a:close/>
                  <a:moveTo>
                    <a:pt x="336" y="666"/>
                  </a:moveTo>
                  <a:lnTo>
                    <a:pt x="447" y="666"/>
                  </a:lnTo>
                  <a:cubicBezTo>
                    <a:pt x="566" y="666"/>
                    <a:pt x="697" y="685"/>
                    <a:pt x="697" y="824"/>
                  </a:cubicBezTo>
                  <a:cubicBezTo>
                    <a:pt x="697" y="962"/>
                    <a:pt x="585" y="994"/>
                    <a:pt x="452" y="994"/>
                  </a:cubicBezTo>
                  <a:lnTo>
                    <a:pt x="336" y="994"/>
                  </a:lnTo>
                  <a:lnTo>
                    <a:pt x="336" y="666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8" name="Freeform 4">
              <a:extLst>
                <a:ext uri="{FF2B5EF4-FFF2-40B4-BE49-F238E27FC236}">
                  <a16:creationId xmlns:a16="http://schemas.microsoft.com/office/drawing/2014/main" id="{8C080ECC-8105-4143-B70E-14868686FC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18063" y="1420813"/>
              <a:ext cx="219075" cy="454025"/>
            </a:xfrm>
            <a:custGeom>
              <a:avLst/>
              <a:gdLst>
                <a:gd name="T0" fmla="*/ 389 w 609"/>
                <a:gd name="T1" fmla="*/ 1240 h 1262"/>
                <a:gd name="T2" fmla="*/ 450 w 609"/>
                <a:gd name="T3" fmla="*/ 1208 h 1262"/>
                <a:gd name="T4" fmla="*/ 534 w 609"/>
                <a:gd name="T5" fmla="*/ 944 h 1262"/>
                <a:gd name="T6" fmla="*/ 534 w 609"/>
                <a:gd name="T7" fmla="*/ 944 h 1262"/>
                <a:gd name="T8" fmla="*/ 598 w 609"/>
                <a:gd name="T9" fmla="*/ 594 h 1262"/>
                <a:gd name="T10" fmla="*/ 598 w 609"/>
                <a:gd name="T11" fmla="*/ 312 h 1262"/>
                <a:gd name="T12" fmla="*/ 515 w 609"/>
                <a:gd name="T13" fmla="*/ 85 h 1262"/>
                <a:gd name="T14" fmla="*/ 288 w 609"/>
                <a:gd name="T15" fmla="*/ 6 h 1262"/>
                <a:gd name="T16" fmla="*/ 5 w 609"/>
                <a:gd name="T17" fmla="*/ 12 h 1262"/>
                <a:gd name="T18" fmla="*/ 64 w 609"/>
                <a:gd name="T19" fmla="*/ 50 h 1262"/>
                <a:gd name="T20" fmla="*/ 151 w 609"/>
                <a:gd name="T21" fmla="*/ 257 h 1262"/>
                <a:gd name="T22" fmla="*/ 159 w 609"/>
                <a:gd name="T23" fmla="*/ 447 h 1262"/>
                <a:gd name="T24" fmla="*/ 100 w 609"/>
                <a:gd name="T25" fmla="*/ 832 h 1262"/>
                <a:gd name="T26" fmla="*/ 0 w 609"/>
                <a:gd name="T27" fmla="*/ 1125 h 1262"/>
                <a:gd name="T28" fmla="*/ 166 w 609"/>
                <a:gd name="T29" fmla="*/ 1211 h 1262"/>
                <a:gd name="T30" fmla="*/ 389 w 609"/>
                <a:gd name="T31" fmla="*/ 1240 h 1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9" h="1262">
                  <a:moveTo>
                    <a:pt x="389" y="1240"/>
                  </a:moveTo>
                  <a:cubicBezTo>
                    <a:pt x="410" y="1233"/>
                    <a:pt x="430" y="1222"/>
                    <a:pt x="450" y="1208"/>
                  </a:cubicBezTo>
                  <a:cubicBezTo>
                    <a:pt x="481" y="1129"/>
                    <a:pt x="509" y="1042"/>
                    <a:pt x="534" y="944"/>
                  </a:cubicBezTo>
                  <a:lnTo>
                    <a:pt x="534" y="944"/>
                  </a:lnTo>
                  <a:cubicBezTo>
                    <a:pt x="568" y="816"/>
                    <a:pt x="588" y="699"/>
                    <a:pt x="598" y="594"/>
                  </a:cubicBezTo>
                  <a:cubicBezTo>
                    <a:pt x="608" y="488"/>
                    <a:pt x="607" y="394"/>
                    <a:pt x="598" y="312"/>
                  </a:cubicBezTo>
                  <a:cubicBezTo>
                    <a:pt x="589" y="225"/>
                    <a:pt x="567" y="136"/>
                    <a:pt x="515" y="85"/>
                  </a:cubicBezTo>
                  <a:cubicBezTo>
                    <a:pt x="463" y="35"/>
                    <a:pt x="375" y="14"/>
                    <a:pt x="288" y="6"/>
                  </a:cubicBezTo>
                  <a:cubicBezTo>
                    <a:pt x="205" y="0"/>
                    <a:pt x="111" y="1"/>
                    <a:pt x="5" y="12"/>
                  </a:cubicBezTo>
                  <a:cubicBezTo>
                    <a:pt x="28" y="22"/>
                    <a:pt x="48" y="35"/>
                    <a:pt x="64" y="50"/>
                  </a:cubicBezTo>
                  <a:cubicBezTo>
                    <a:pt x="116" y="97"/>
                    <a:pt x="140" y="178"/>
                    <a:pt x="151" y="257"/>
                  </a:cubicBezTo>
                  <a:cubicBezTo>
                    <a:pt x="158" y="315"/>
                    <a:pt x="162" y="378"/>
                    <a:pt x="159" y="447"/>
                  </a:cubicBezTo>
                  <a:cubicBezTo>
                    <a:pt x="156" y="559"/>
                    <a:pt x="138" y="687"/>
                    <a:pt x="100" y="832"/>
                  </a:cubicBezTo>
                  <a:cubicBezTo>
                    <a:pt x="71" y="944"/>
                    <a:pt x="37" y="1041"/>
                    <a:pt x="0" y="1125"/>
                  </a:cubicBezTo>
                  <a:cubicBezTo>
                    <a:pt x="58" y="1161"/>
                    <a:pt x="113" y="1189"/>
                    <a:pt x="166" y="1211"/>
                  </a:cubicBezTo>
                  <a:cubicBezTo>
                    <a:pt x="240" y="1242"/>
                    <a:pt x="322" y="1261"/>
                    <a:pt x="389" y="1240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9" name="Freeform 5">
              <a:extLst>
                <a:ext uri="{FF2B5EF4-FFF2-40B4-BE49-F238E27FC236}">
                  <a16:creationId xmlns:a16="http://schemas.microsoft.com/office/drawing/2014/main" id="{8B932AD7-ABD9-4B4C-8141-4FCA99DA31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14850" y="1679575"/>
              <a:ext cx="454025" cy="355600"/>
            </a:xfrm>
            <a:custGeom>
              <a:avLst/>
              <a:gdLst>
                <a:gd name="T0" fmla="*/ 6 w 1262"/>
                <a:gd name="T1" fmla="*/ 279 h 986"/>
                <a:gd name="T2" fmla="*/ 3 w 1262"/>
                <a:gd name="T3" fmla="*/ 349 h 986"/>
                <a:gd name="T4" fmla="*/ 188 w 1262"/>
                <a:gd name="T5" fmla="*/ 552 h 986"/>
                <a:gd name="T6" fmla="*/ 461 w 1262"/>
                <a:gd name="T7" fmla="*/ 783 h 986"/>
                <a:gd name="T8" fmla="*/ 705 w 1262"/>
                <a:gd name="T9" fmla="*/ 924 h 986"/>
                <a:gd name="T10" fmla="*/ 942 w 1262"/>
                <a:gd name="T11" fmla="*/ 965 h 986"/>
                <a:gd name="T12" fmla="*/ 1125 w 1262"/>
                <a:gd name="T13" fmla="*/ 808 h 986"/>
                <a:gd name="T14" fmla="*/ 1261 w 1262"/>
                <a:gd name="T15" fmla="*/ 560 h 986"/>
                <a:gd name="T16" fmla="*/ 1198 w 1262"/>
                <a:gd name="T17" fmla="*/ 593 h 986"/>
                <a:gd name="T18" fmla="*/ 976 w 1262"/>
                <a:gd name="T19" fmla="*/ 564 h 986"/>
                <a:gd name="T20" fmla="*/ 806 w 1262"/>
                <a:gd name="T21" fmla="*/ 477 h 986"/>
                <a:gd name="T22" fmla="*/ 503 w 1262"/>
                <a:gd name="T23" fmla="*/ 233 h 986"/>
                <a:gd name="T24" fmla="*/ 503 w 1262"/>
                <a:gd name="T25" fmla="*/ 233 h 986"/>
                <a:gd name="T26" fmla="*/ 299 w 1262"/>
                <a:gd name="T27" fmla="*/ 0 h 986"/>
                <a:gd name="T28" fmla="*/ 142 w 1262"/>
                <a:gd name="T29" fmla="*/ 100 h 986"/>
                <a:gd name="T30" fmla="*/ 6 w 1262"/>
                <a:gd name="T31" fmla="*/ 279 h 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62" h="986">
                  <a:moveTo>
                    <a:pt x="6" y="279"/>
                  </a:moveTo>
                  <a:cubicBezTo>
                    <a:pt x="1" y="301"/>
                    <a:pt x="0" y="324"/>
                    <a:pt x="3" y="349"/>
                  </a:cubicBezTo>
                  <a:cubicBezTo>
                    <a:pt x="55" y="414"/>
                    <a:pt x="117" y="482"/>
                    <a:pt x="188" y="552"/>
                  </a:cubicBezTo>
                  <a:cubicBezTo>
                    <a:pt x="284" y="646"/>
                    <a:pt x="375" y="722"/>
                    <a:pt x="461" y="783"/>
                  </a:cubicBezTo>
                  <a:cubicBezTo>
                    <a:pt x="548" y="844"/>
                    <a:pt x="629" y="890"/>
                    <a:pt x="705" y="924"/>
                  </a:cubicBezTo>
                  <a:cubicBezTo>
                    <a:pt x="784" y="961"/>
                    <a:pt x="872" y="985"/>
                    <a:pt x="942" y="965"/>
                  </a:cubicBezTo>
                  <a:cubicBezTo>
                    <a:pt x="1012" y="946"/>
                    <a:pt x="1075" y="880"/>
                    <a:pt x="1125" y="808"/>
                  </a:cubicBezTo>
                  <a:cubicBezTo>
                    <a:pt x="1172" y="740"/>
                    <a:pt x="1218" y="658"/>
                    <a:pt x="1261" y="560"/>
                  </a:cubicBezTo>
                  <a:cubicBezTo>
                    <a:pt x="1241" y="575"/>
                    <a:pt x="1220" y="586"/>
                    <a:pt x="1198" y="593"/>
                  </a:cubicBezTo>
                  <a:cubicBezTo>
                    <a:pt x="1132" y="614"/>
                    <a:pt x="1049" y="595"/>
                    <a:pt x="976" y="564"/>
                  </a:cubicBezTo>
                  <a:cubicBezTo>
                    <a:pt x="922" y="542"/>
                    <a:pt x="865" y="513"/>
                    <a:pt x="806" y="477"/>
                  </a:cubicBezTo>
                  <a:cubicBezTo>
                    <a:pt x="711" y="418"/>
                    <a:pt x="610" y="338"/>
                    <a:pt x="503" y="233"/>
                  </a:cubicBezTo>
                  <a:lnTo>
                    <a:pt x="503" y="233"/>
                  </a:lnTo>
                  <a:cubicBezTo>
                    <a:pt x="420" y="152"/>
                    <a:pt x="354" y="74"/>
                    <a:pt x="299" y="0"/>
                  </a:cubicBezTo>
                  <a:cubicBezTo>
                    <a:pt x="239" y="32"/>
                    <a:pt x="187" y="66"/>
                    <a:pt x="142" y="100"/>
                  </a:cubicBezTo>
                  <a:cubicBezTo>
                    <a:pt x="79" y="149"/>
                    <a:pt x="21" y="211"/>
                    <a:pt x="6" y="279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" name="Freeform 6">
              <a:extLst>
                <a:ext uri="{FF2B5EF4-FFF2-40B4-BE49-F238E27FC236}">
                  <a16:creationId xmlns:a16="http://schemas.microsoft.com/office/drawing/2014/main" id="{6780236F-0BD3-4F7E-906E-4B57944248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22775" y="1428750"/>
              <a:ext cx="423863" cy="354013"/>
            </a:xfrm>
            <a:custGeom>
              <a:avLst/>
              <a:gdLst>
                <a:gd name="T0" fmla="*/ 1081 w 1179"/>
                <a:gd name="T1" fmla="*/ 36 h 985"/>
                <a:gd name="T2" fmla="*/ 1025 w 1179"/>
                <a:gd name="T3" fmla="*/ 0 h 985"/>
                <a:gd name="T4" fmla="*/ 753 w 1179"/>
                <a:gd name="T5" fmla="*/ 59 h 985"/>
                <a:gd name="T6" fmla="*/ 419 w 1179"/>
                <a:gd name="T7" fmla="*/ 179 h 985"/>
                <a:gd name="T8" fmla="*/ 175 w 1179"/>
                <a:gd name="T9" fmla="*/ 319 h 985"/>
                <a:gd name="T10" fmla="*/ 19 w 1179"/>
                <a:gd name="T11" fmla="*/ 505 h 985"/>
                <a:gd name="T12" fmla="*/ 65 w 1179"/>
                <a:gd name="T13" fmla="*/ 744 h 985"/>
                <a:gd name="T14" fmla="*/ 210 w 1179"/>
                <a:gd name="T15" fmla="*/ 984 h 985"/>
                <a:gd name="T16" fmla="*/ 213 w 1179"/>
                <a:gd name="T17" fmla="*/ 914 h 985"/>
                <a:gd name="T18" fmla="*/ 350 w 1179"/>
                <a:gd name="T19" fmla="*/ 735 h 985"/>
                <a:gd name="T20" fmla="*/ 510 w 1179"/>
                <a:gd name="T21" fmla="*/ 632 h 985"/>
                <a:gd name="T22" fmla="*/ 873 w 1179"/>
                <a:gd name="T23" fmla="*/ 491 h 985"/>
                <a:gd name="T24" fmla="*/ 873 w 1179"/>
                <a:gd name="T25" fmla="*/ 491 h 985"/>
                <a:gd name="T26" fmla="*/ 1176 w 1179"/>
                <a:gd name="T27" fmla="*/ 432 h 985"/>
                <a:gd name="T28" fmla="*/ 1167 w 1179"/>
                <a:gd name="T29" fmla="*/ 244 h 985"/>
                <a:gd name="T30" fmla="*/ 1081 w 1179"/>
                <a:gd name="T31" fmla="*/ 3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79" h="985">
                  <a:moveTo>
                    <a:pt x="1081" y="36"/>
                  </a:moveTo>
                  <a:cubicBezTo>
                    <a:pt x="1065" y="22"/>
                    <a:pt x="1046" y="10"/>
                    <a:pt x="1025" y="0"/>
                  </a:cubicBezTo>
                  <a:cubicBezTo>
                    <a:pt x="941" y="13"/>
                    <a:pt x="851" y="32"/>
                    <a:pt x="753" y="59"/>
                  </a:cubicBezTo>
                  <a:cubicBezTo>
                    <a:pt x="625" y="95"/>
                    <a:pt x="514" y="135"/>
                    <a:pt x="419" y="179"/>
                  </a:cubicBezTo>
                  <a:cubicBezTo>
                    <a:pt x="322" y="223"/>
                    <a:pt x="242" y="270"/>
                    <a:pt x="175" y="319"/>
                  </a:cubicBezTo>
                  <a:cubicBezTo>
                    <a:pt x="103" y="370"/>
                    <a:pt x="37" y="435"/>
                    <a:pt x="19" y="505"/>
                  </a:cubicBezTo>
                  <a:cubicBezTo>
                    <a:pt x="0" y="576"/>
                    <a:pt x="27" y="664"/>
                    <a:pt x="65" y="744"/>
                  </a:cubicBezTo>
                  <a:cubicBezTo>
                    <a:pt x="100" y="819"/>
                    <a:pt x="148" y="899"/>
                    <a:pt x="210" y="984"/>
                  </a:cubicBezTo>
                  <a:cubicBezTo>
                    <a:pt x="208" y="960"/>
                    <a:pt x="208" y="936"/>
                    <a:pt x="213" y="914"/>
                  </a:cubicBezTo>
                  <a:cubicBezTo>
                    <a:pt x="228" y="845"/>
                    <a:pt x="286" y="784"/>
                    <a:pt x="350" y="735"/>
                  </a:cubicBezTo>
                  <a:cubicBezTo>
                    <a:pt x="395" y="700"/>
                    <a:pt x="449" y="665"/>
                    <a:pt x="510" y="632"/>
                  </a:cubicBezTo>
                  <a:cubicBezTo>
                    <a:pt x="609" y="580"/>
                    <a:pt x="728" y="531"/>
                    <a:pt x="873" y="491"/>
                  </a:cubicBezTo>
                  <a:lnTo>
                    <a:pt x="873" y="491"/>
                  </a:lnTo>
                  <a:cubicBezTo>
                    <a:pt x="984" y="460"/>
                    <a:pt x="1085" y="442"/>
                    <a:pt x="1176" y="432"/>
                  </a:cubicBezTo>
                  <a:cubicBezTo>
                    <a:pt x="1178" y="363"/>
                    <a:pt x="1175" y="301"/>
                    <a:pt x="1167" y="244"/>
                  </a:cubicBezTo>
                  <a:cubicBezTo>
                    <a:pt x="1157" y="164"/>
                    <a:pt x="1133" y="83"/>
                    <a:pt x="1081" y="36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1" name="TextBox 30">
            <a:extLst>
              <a:ext uri="{FF2B5EF4-FFF2-40B4-BE49-F238E27FC236}">
                <a16:creationId xmlns:a16="http://schemas.microsoft.com/office/drawing/2014/main" id="{7429EA11-2CC2-4E8A-A4BA-1C310694CE6F}"/>
              </a:ext>
            </a:extLst>
          </p:cNvPr>
          <p:cNvSpPr txBox="1"/>
          <p:nvPr/>
        </p:nvSpPr>
        <p:spPr>
          <a:xfrm>
            <a:off x="417946" y="6494383"/>
            <a:ext cx="3404991" cy="15390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indent="0" defTabSz="883649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6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18056" indent="-275499" defTabSz="883649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04928" indent="-221279" defTabSz="883649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&gt;"/>
              <a:defRPr sz="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547485" indent="-221279" defTabSz="883649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990042" indent="-221279" defTabSz="883649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6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412083" indent="-221279" defTabSz="883649" fontAlgn="base">
              <a:spcBef>
                <a:spcPct val="20000"/>
              </a:spcBef>
              <a:spcAft>
                <a:spcPct val="0"/>
              </a:spcAft>
              <a:buChar char="•"/>
              <a:defRPr sz="1108">
                <a:solidFill>
                  <a:schemeClr val="bg2"/>
                </a:solidFill>
                <a:latin typeface="FS Severstal" pitchFamily="2" charset="0"/>
              </a:defRPr>
            </a:lvl6pPr>
            <a:lvl7pPr marL="2834125" indent="-221279" defTabSz="883649" fontAlgn="base">
              <a:spcBef>
                <a:spcPct val="20000"/>
              </a:spcBef>
              <a:spcAft>
                <a:spcPct val="0"/>
              </a:spcAft>
              <a:buChar char="•"/>
              <a:defRPr sz="1108">
                <a:solidFill>
                  <a:schemeClr val="bg2"/>
                </a:solidFill>
                <a:latin typeface="FS Severstal" pitchFamily="2" charset="0"/>
              </a:defRPr>
            </a:lvl7pPr>
            <a:lvl8pPr marL="3256166" indent="-221279" defTabSz="883649" fontAlgn="base">
              <a:spcBef>
                <a:spcPct val="20000"/>
              </a:spcBef>
              <a:spcAft>
                <a:spcPct val="0"/>
              </a:spcAft>
              <a:buChar char="•"/>
              <a:defRPr sz="1108">
                <a:solidFill>
                  <a:schemeClr val="bg2"/>
                </a:solidFill>
                <a:latin typeface="FS Severstal" pitchFamily="2" charset="0"/>
              </a:defRPr>
            </a:lvl8pPr>
            <a:lvl9pPr marL="3678207" indent="-221279" defTabSz="883649" fontAlgn="base">
              <a:spcBef>
                <a:spcPct val="20000"/>
              </a:spcBef>
              <a:spcAft>
                <a:spcPct val="0"/>
              </a:spcAft>
              <a:buChar char="•"/>
              <a:defRPr sz="1108">
                <a:solidFill>
                  <a:schemeClr val="bg2"/>
                </a:solidFill>
                <a:latin typeface="FS Severstal" pitchFamily="2" charset="0"/>
              </a:defRPr>
            </a:lvl9pPr>
          </a:lstStyle>
          <a:p>
            <a:pPr marL="0" marR="0" lvl="0" indent="0" algn="l" defTabSz="883649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alpha val="9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Любое несанкционированное копирование, раскрытие или распространение материалов, </a:t>
            </a:r>
            <a:br>
              <a:rPr kumimoji="0" 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alpha val="9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alpha val="9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одержащихся в данном документе (или приложениях к нему), строго запрещено.</a:t>
            </a: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6B5C6900-F3E1-D842-B00A-B9D740B93088}"/>
              </a:ext>
            </a:extLst>
          </p:cNvPr>
          <p:cNvSpPr/>
          <p:nvPr/>
        </p:nvSpPr>
        <p:spPr>
          <a:xfrm>
            <a:off x="1158998" y="852393"/>
            <a:ext cx="7805490" cy="67710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пасибо за внимание!</a:t>
            </a:r>
            <a:endParaRPr kumimoji="0" lang="ru-RU" sz="4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id="{57DE5020-AF31-5C4A-ABF1-24B7F906AD69}"/>
              </a:ext>
            </a:extLst>
          </p:cNvPr>
          <p:cNvSpPr/>
          <p:nvPr/>
        </p:nvSpPr>
        <p:spPr>
          <a:xfrm>
            <a:off x="0" y="862527"/>
            <a:ext cx="930014" cy="653177"/>
          </a:xfrm>
          <a:prstGeom prst="rect">
            <a:avLst/>
          </a:prstGeom>
          <a:gradFill>
            <a:gsLst>
              <a:gs pos="28000">
                <a:schemeClr val="accent2">
                  <a:alpha val="85000"/>
                </a:schemeClr>
              </a:gs>
              <a:gs pos="100000">
                <a:schemeClr val="accent2">
                  <a:lumMod val="80000"/>
                </a:schemeClr>
              </a:gs>
            </a:gsLst>
            <a:lin ang="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190500" dist="38100" dir="16200000" rotWithShape="0">
              <a:prstClr val="black">
                <a:alpha val="20000"/>
              </a:prstClr>
            </a:outerShdw>
          </a:effectLst>
          <a:ex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6381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E82E9B13-18DA-8F47-A12B-185B71CB56C1}"/>
              </a:ext>
            </a:extLst>
          </p:cNvPr>
          <p:cNvSpPr/>
          <p:nvPr/>
        </p:nvSpPr>
        <p:spPr>
          <a:xfrm>
            <a:off x="896395" y="862527"/>
            <a:ext cx="33619" cy="653177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6381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</p:txBody>
      </p:sp>
      <p:sp>
        <p:nvSpPr>
          <p:cNvPr id="32" name="Прямоугольник 31">
            <a:extLst>
              <a:ext uri="{FF2B5EF4-FFF2-40B4-BE49-F238E27FC236}">
                <a16:creationId xmlns:a16="http://schemas.microsoft.com/office/drawing/2014/main" id="{1D669717-11FE-4B0A-9CBD-2391587BE80A}"/>
              </a:ext>
            </a:extLst>
          </p:cNvPr>
          <p:cNvSpPr/>
          <p:nvPr/>
        </p:nvSpPr>
        <p:spPr>
          <a:xfrm>
            <a:off x="946632" y="2066363"/>
            <a:ext cx="10585972" cy="4179827"/>
          </a:xfrm>
          <a:prstGeom prst="rect">
            <a:avLst/>
          </a:prstGeom>
          <a:gradFill flip="none" rotWithShape="1">
            <a:gsLst>
              <a:gs pos="1000">
                <a:srgbClr val="005DA3">
                  <a:alpha val="84000"/>
                </a:srgbClr>
              </a:gs>
              <a:gs pos="0">
                <a:srgbClr val="DD1E25"/>
              </a:gs>
            </a:gsLst>
            <a:lin ang="126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786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275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6B5C6900-F3E1-D842-B00A-B9D740B93088}"/>
              </a:ext>
            </a:extLst>
          </p:cNvPr>
          <p:cNvSpPr/>
          <p:nvPr/>
        </p:nvSpPr>
        <p:spPr>
          <a:xfrm>
            <a:off x="1127448" y="3096830"/>
            <a:ext cx="7740860" cy="203132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4400" b="1" dirty="0" smtClean="0">
                <a:solidFill>
                  <a:srgbClr val="FFFFFF"/>
                </a:solidFill>
                <a:latin typeface="Arial"/>
              </a:rPr>
              <a:t>Наталья Леонтьева</a:t>
            </a:r>
            <a:endParaRPr kumimoji="0" lang="ru-RU" sz="4400" b="1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Номер</a:t>
            </a: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</a:t>
            </a:r>
            <a:r>
              <a:rPr kumimoji="0" lang="ru-RU" sz="4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8 </a:t>
            </a:r>
            <a:r>
              <a:rPr kumimoji="0" lang="ru-RU" sz="4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961 021 99 00</a:t>
            </a:r>
            <a:endParaRPr kumimoji="0" lang="en-US" sz="4400" b="1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30552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701850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30" name="Слайд think-cell" r:id="rId5" imgW="395" imgH="396" progId="TCLayout.ActiveDocument.1">
                  <p:embed/>
                </p:oleObj>
              </mc:Choice>
              <mc:Fallback>
                <p:oleObj name="Слайд think-cell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Прямоугольник 8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>
            <a:gsLst>
              <a:gs pos="0">
                <a:schemeClr val="accent2"/>
              </a:gs>
              <a:gs pos="100000">
                <a:schemeClr val="accent2">
                  <a:lumMod val="75000"/>
                </a:scheme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95350"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</a:pPr>
            <a:endParaRPr lang="ru-RU" sz="2000" b="1" dirty="0" err="1" smtClean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Прямоугольник 36">
            <a:extLst>
              <a:ext uri="{FF2B5EF4-FFF2-40B4-BE49-F238E27FC236}">
                <a16:creationId xmlns:a16="http://schemas.microsoft.com/office/drawing/2014/main" id="{04824339-E696-5442-AF6A-C18ACEF9A9A3}"/>
              </a:ext>
            </a:extLst>
          </p:cNvPr>
          <p:cNvSpPr/>
          <p:nvPr/>
        </p:nvSpPr>
        <p:spPr>
          <a:xfrm>
            <a:off x="1242001" y="980728"/>
            <a:ext cx="9714539" cy="5378636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3">
                <a:lumMod val="60000"/>
                <a:lumOff val="40000"/>
                <a:alpha val="99000"/>
              </a:schemeClr>
            </a:solidFill>
          </a:ln>
          <a:effectLst>
            <a:outerShdw blurRad="127000" dist="127000" dir="2700000" algn="tl" rotWithShape="0">
              <a:prstClr val="black">
                <a:alpha val="5000"/>
              </a:prstClr>
            </a:outerShdw>
          </a:effectLst>
        </p:spPr>
        <p:txBody>
          <a:bodyPr rot="0" spcFirstLastPara="0" vertOverflow="overflow" horzOverflow="overflow" vert="horz" wrap="none" lIns="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ru-RU" dirty="0">
              <a:latin typeface="+mj-lt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B9CAC58-44C9-4DC0-A6AF-0B4057C34224}" type="slidenum">
              <a:rPr lang="ru-RU" smtClean="0"/>
              <a:pPr/>
              <a:t>2</a:t>
            </a:fld>
            <a:endParaRPr lang="ru-RU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Всё началось с участия в «Гонке героев»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72" b="2172"/>
          <a:stretch/>
        </p:blipFill>
        <p:spPr>
          <a:xfrm>
            <a:off x="1242001" y="980728"/>
            <a:ext cx="9714539" cy="5378636"/>
          </a:xfrm>
          <a:prstGeom prst="rect">
            <a:avLst/>
          </a:prstGeom>
        </p:spPr>
      </p:pic>
      <p:sp>
        <p:nvSpPr>
          <p:cNvPr id="5" name="Rectangle 20">
            <a:extLst>
              <a:ext uri="{FF2B5EF4-FFF2-40B4-BE49-F238E27FC236}">
                <a16:creationId xmlns:a16="http://schemas.microsoft.com/office/drawing/2014/main" id="{CB43F600-2DAD-4680-9CD0-BCEC1AEED278}"/>
              </a:ext>
            </a:extLst>
          </p:cNvPr>
          <p:cNvSpPr/>
          <p:nvPr/>
        </p:nvSpPr>
        <p:spPr>
          <a:xfrm>
            <a:off x="1251601" y="1390812"/>
            <a:ext cx="9704939" cy="4968552"/>
          </a:xfrm>
          <a:prstGeom prst="rect">
            <a:avLst/>
          </a:prstGeom>
          <a:gradFill>
            <a:gsLst>
              <a:gs pos="23000">
                <a:schemeClr val="accent2">
                  <a:lumMod val="75000"/>
                </a:schemeClr>
              </a:gs>
              <a:gs pos="72000">
                <a:schemeClr val="accent2">
                  <a:alpha val="0"/>
                </a:schemeClr>
              </a:gs>
            </a:gsLst>
            <a:lin ang="16200000" scaled="0"/>
          </a:gradFill>
          <a:ln w="12700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28600" indent="-228600" defTabSz="895350">
              <a:spcAft>
                <a:spcPts val="600"/>
              </a:spcAft>
              <a:buClr>
                <a:srgbClr val="DD1E25"/>
              </a:buClr>
              <a:buFont typeface="Wingdings" panose="05000000000000000000" pitchFamily="2" charset="2"/>
              <a:buChar char="§"/>
            </a:pPr>
            <a:endParaRPr lang="ru-RU" sz="1200" dirty="0">
              <a:solidFill>
                <a:srgbClr val="99A4AB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6" name="Straight Connector 17">
            <a:extLst>
              <a:ext uri="{FF2B5EF4-FFF2-40B4-BE49-F238E27FC236}">
                <a16:creationId xmlns:a16="http://schemas.microsoft.com/office/drawing/2014/main" id="{A0A77DE4-F852-4D53-A922-22333470E152}"/>
              </a:ext>
            </a:extLst>
          </p:cNvPr>
          <p:cNvCxnSpPr>
            <a:cxnSpLocks/>
          </p:cNvCxnSpPr>
          <p:nvPr/>
        </p:nvCxnSpPr>
        <p:spPr bwMode="auto">
          <a:xfrm>
            <a:off x="2714918" y="4825552"/>
            <a:ext cx="7614724" cy="0"/>
          </a:xfrm>
          <a:prstGeom prst="line">
            <a:avLst/>
          </a:prstGeom>
          <a:solidFill>
            <a:schemeClr val="accent1"/>
          </a:solidFill>
          <a:ln w="6350" cap="flat" cmpd="sng" algn="ctr">
            <a:gradFill>
              <a:gsLst>
                <a:gs pos="0">
                  <a:schemeClr val="bg1">
                    <a:alpha val="75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0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" name="Rectangle 3">
            <a:extLst>
              <a:ext uri="{FF2B5EF4-FFF2-40B4-BE49-F238E27FC236}">
                <a16:creationId xmlns:a16="http://schemas.microsoft.com/office/drawing/2014/main" id="{BCD722E8-499E-413C-8D66-060058DF0026}"/>
              </a:ext>
            </a:extLst>
          </p:cNvPr>
          <p:cNvSpPr txBox="1">
            <a:spLocks/>
          </p:cNvSpPr>
          <p:nvPr/>
        </p:nvSpPr>
        <p:spPr>
          <a:xfrm>
            <a:off x="2567608" y="5060653"/>
            <a:ext cx="7170641" cy="8309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0" algn="ctr">
              <a:buClr>
                <a:srgbClr val="000000"/>
              </a:buClr>
            </a:pPr>
            <a:r>
              <a:rPr lang="ru-RU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спешное участие в «Гонке героев» дало нам понять, что мы можем больше, чем думаем! Что нашим возможностям НЕТ ПРЕДЕЛА – т.е. </a:t>
            </a:r>
            <a:r>
              <a:rPr lang="en-US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 LIMITS!</a:t>
            </a:r>
            <a:r>
              <a:rPr lang="ru-RU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kumimoji="0" lang="ru-RU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8" name="Straight Connector 19">
            <a:extLst>
              <a:ext uri="{FF2B5EF4-FFF2-40B4-BE49-F238E27FC236}">
                <a16:creationId xmlns:a16="http://schemas.microsoft.com/office/drawing/2014/main" id="{1A8D2520-44F3-47BC-955A-8EB4C559ACFD}"/>
              </a:ext>
            </a:extLst>
          </p:cNvPr>
          <p:cNvCxnSpPr/>
          <p:nvPr/>
        </p:nvCxnSpPr>
        <p:spPr bwMode="auto">
          <a:xfrm>
            <a:off x="2617950" y="4825552"/>
            <a:ext cx="1404559" cy="0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12671211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Объект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038671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7" name="Слайд think-cell" r:id="rId5" imgW="395" imgH="396" progId="TCLayout.ActiveDocument.1">
                  <p:embed/>
                </p:oleObj>
              </mc:Choice>
              <mc:Fallback>
                <p:oleObj name="Слайд think-cell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Прямоугольник 1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>
            <a:gsLst>
              <a:gs pos="0">
                <a:schemeClr val="accent2"/>
              </a:gs>
              <a:gs pos="100000">
                <a:schemeClr val="accent2">
                  <a:lumMod val="75000"/>
                </a:scheme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95350"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</a:pPr>
            <a:endParaRPr lang="ru-RU" sz="2000" b="1" dirty="0" err="1" smtClean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10" name="Группа 9"/>
          <p:cNvGrpSpPr>
            <a:grpSpLocks noChangeAspect="1"/>
          </p:cNvGrpSpPr>
          <p:nvPr/>
        </p:nvGrpSpPr>
        <p:grpSpPr>
          <a:xfrm>
            <a:off x="8404020" y="3429000"/>
            <a:ext cx="3411438" cy="3265530"/>
            <a:chOff x="8688288" y="3572082"/>
            <a:chExt cx="3066228" cy="2898322"/>
          </a:xfrm>
        </p:grpSpPr>
        <p:pic>
          <p:nvPicPr>
            <p:cNvPr id="8" name="Рисунок 7"/>
            <p:cNvPicPr>
              <a:picLocks noChangeAspect="1"/>
            </p:cNvPicPr>
            <p:nvPr/>
          </p:nvPicPr>
          <p:blipFill rotWithShape="1">
            <a:blip r:embed="rId7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006" t="45949" r="51906" b="6100"/>
            <a:stretch/>
          </p:blipFill>
          <p:spPr>
            <a:xfrm>
              <a:off x="8688288" y="3914120"/>
              <a:ext cx="2880320" cy="2556284"/>
            </a:xfrm>
            <a:prstGeom prst="rect">
              <a:avLst/>
            </a:prstGeom>
          </p:spPr>
        </p:pic>
        <p:sp>
          <p:nvSpPr>
            <p:cNvPr id="9" name="Прямоугольник 8"/>
            <p:cNvSpPr/>
            <p:nvPr/>
          </p:nvSpPr>
          <p:spPr>
            <a:xfrm>
              <a:off x="11395108" y="3572082"/>
              <a:ext cx="359408" cy="684076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indent="0" algn="ctr" defTabSz="895350">
                <a:spcAft>
                  <a:spcPts val="600"/>
                </a:spcAft>
                <a:buClr>
                  <a:schemeClr val="accent1"/>
                </a:buClr>
                <a:buFont typeface="Wingdings" panose="05000000000000000000" pitchFamily="2" charset="2"/>
                <a:buNone/>
              </a:pPr>
              <a:endParaRPr lang="ru-RU" sz="1200" dirty="0" err="1" smtClean="0">
                <a:solidFill>
                  <a:schemeClr val="bg1"/>
                </a:solidFill>
              </a:endParaRPr>
            </a:p>
          </p:txBody>
        </p:sp>
      </p:grpSp>
      <p:sp>
        <p:nvSpPr>
          <p:cNvPr id="15" name="Прямоугольник 36">
            <a:extLst>
              <a:ext uri="{FF2B5EF4-FFF2-40B4-BE49-F238E27FC236}">
                <a16:creationId xmlns:a16="http://schemas.microsoft.com/office/drawing/2014/main" id="{04824339-E696-5442-AF6A-C18ACEF9A9A3}"/>
              </a:ext>
            </a:extLst>
          </p:cNvPr>
          <p:cNvSpPr/>
          <p:nvPr/>
        </p:nvSpPr>
        <p:spPr>
          <a:xfrm>
            <a:off x="1127448" y="4149080"/>
            <a:ext cx="7020780" cy="1836045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3">
                <a:lumMod val="60000"/>
                <a:lumOff val="40000"/>
                <a:alpha val="99000"/>
              </a:schemeClr>
            </a:solidFill>
          </a:ln>
          <a:effectLst>
            <a:outerShdw blurRad="127000" dist="127000" dir="2700000" algn="tl" rotWithShape="0">
              <a:prstClr val="black">
                <a:alpha val="5000"/>
              </a:prstClr>
            </a:outerShdw>
          </a:effectLst>
        </p:spPr>
        <p:txBody>
          <a:bodyPr rot="0" spcFirstLastPara="0" vertOverflow="overflow" horzOverflow="overflow" vert="horz" wrap="none" lIns="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ru-RU" dirty="0">
              <a:latin typeface="+mj-lt"/>
            </a:endParaRPr>
          </a:p>
        </p:txBody>
      </p:sp>
      <p:sp>
        <p:nvSpPr>
          <p:cNvPr id="11" name="Прямоугольник 36">
            <a:extLst>
              <a:ext uri="{FF2B5EF4-FFF2-40B4-BE49-F238E27FC236}">
                <a16:creationId xmlns:a16="http://schemas.microsoft.com/office/drawing/2014/main" id="{04824339-E696-5442-AF6A-C18ACEF9A9A3}"/>
              </a:ext>
            </a:extLst>
          </p:cNvPr>
          <p:cNvSpPr/>
          <p:nvPr/>
        </p:nvSpPr>
        <p:spPr>
          <a:xfrm>
            <a:off x="1127448" y="1088740"/>
            <a:ext cx="10873208" cy="2747851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3">
                <a:lumMod val="60000"/>
                <a:lumOff val="40000"/>
                <a:alpha val="99000"/>
              </a:schemeClr>
            </a:solidFill>
          </a:ln>
          <a:effectLst>
            <a:outerShdw blurRad="127000" dist="127000" dir="2700000" algn="tl" rotWithShape="0">
              <a:prstClr val="black">
                <a:alpha val="5000"/>
              </a:prstClr>
            </a:outerShdw>
          </a:effectLst>
        </p:spPr>
        <p:txBody>
          <a:bodyPr rot="0" spcFirstLastPara="0" vertOverflow="overflow" horzOverflow="overflow" vert="horz" wrap="none" lIns="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ru-RU" dirty="0">
              <a:latin typeface="+mj-lt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B9CAC58-44C9-4DC0-A6AF-0B4057C34224}" type="slidenum">
              <a:rPr lang="ru-RU" smtClean="0"/>
              <a:pPr/>
              <a:t>3</a:t>
            </a:fld>
            <a:endParaRPr lang="ru-RU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o limits </a:t>
            </a:r>
            <a:r>
              <a:rPr lang="ru-RU" dirty="0" smtClean="0"/>
              <a:t>что-то большее, чем просто спортивное движение Северстали</a:t>
            </a:r>
            <a:endParaRPr lang="ru-RU" dirty="0"/>
          </a:p>
        </p:txBody>
      </p:sp>
      <p:sp>
        <p:nvSpPr>
          <p:cNvPr id="5" name="Овал 4"/>
          <p:cNvSpPr/>
          <p:nvPr/>
        </p:nvSpPr>
        <p:spPr>
          <a:xfrm>
            <a:off x="407988" y="1718626"/>
            <a:ext cx="1440000" cy="1440000"/>
          </a:xfrm>
          <a:prstGeom prst="ellipse">
            <a:avLst/>
          </a:prstGeom>
          <a:gradFill>
            <a:gsLst>
              <a:gs pos="0">
                <a:schemeClr val="accent2"/>
              </a:gs>
              <a:gs pos="100000">
                <a:schemeClr val="accent2">
                  <a:lumMod val="75000"/>
                </a:scheme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indent="0" algn="ctr" defTabSz="895350"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ru-RU" sz="2000" b="1" dirty="0" smtClean="0">
                <a:solidFill>
                  <a:schemeClr val="bg1"/>
                </a:solidFill>
              </a:rPr>
              <a:t>Цели</a:t>
            </a:r>
            <a:endParaRPr lang="ru-RU" sz="1200" b="1" dirty="0" smtClean="0">
              <a:solidFill>
                <a:schemeClr val="bg1"/>
              </a:solidFill>
            </a:endParaRPr>
          </a:p>
        </p:txBody>
      </p:sp>
      <p:sp>
        <p:nvSpPr>
          <p:cNvPr id="7" name="Овал 6"/>
          <p:cNvSpPr/>
          <p:nvPr/>
        </p:nvSpPr>
        <p:spPr>
          <a:xfrm>
            <a:off x="407988" y="4352796"/>
            <a:ext cx="1440000" cy="1440000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indent="0" algn="ctr" defTabSz="895350"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ru-RU" sz="2000" b="1" dirty="0" smtClean="0">
                <a:solidFill>
                  <a:schemeClr val="bg1"/>
                </a:solidFill>
              </a:rPr>
              <a:t>Миссия</a:t>
            </a:r>
            <a:endParaRPr lang="ru-RU" sz="1200" b="1" dirty="0" smtClean="0">
              <a:solidFill>
                <a:schemeClr val="bg1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063552" y="1159425"/>
            <a:ext cx="10045116" cy="258532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50000"/>
              </a:lnSpc>
            </a:pPr>
            <a:r>
              <a:rPr lang="ru-RU" sz="1400" dirty="0" smtClean="0"/>
              <a:t>1. Формирование культуры здорового образа жизни в Компании</a:t>
            </a:r>
          </a:p>
          <a:p>
            <a:pPr>
              <a:lnSpc>
                <a:spcPct val="150000"/>
              </a:lnSpc>
            </a:pPr>
            <a:r>
              <a:rPr lang="ru-RU" sz="1400" dirty="0" smtClean="0"/>
              <a:t>2. Повышение </a:t>
            </a:r>
            <a:r>
              <a:rPr lang="ru-RU" sz="1400" dirty="0"/>
              <a:t>эффективности </a:t>
            </a:r>
            <a:r>
              <a:rPr lang="ru-RU" sz="1400" dirty="0" smtClean="0"/>
              <a:t>Компании:</a:t>
            </a:r>
          </a:p>
          <a:p>
            <a:pPr marL="265113">
              <a:lnSpc>
                <a:spcPct val="150000"/>
              </a:lnSpc>
            </a:pPr>
            <a:r>
              <a:rPr lang="ru-RU" sz="1400" dirty="0"/>
              <a:t>2.1. Снижение заболеваемости сотрудников</a:t>
            </a:r>
          </a:p>
          <a:p>
            <a:pPr marL="265113">
              <a:lnSpc>
                <a:spcPct val="150000"/>
              </a:lnSpc>
            </a:pPr>
            <a:r>
              <a:rPr lang="ru-RU" sz="1400" dirty="0"/>
              <a:t>2.2. Повышение вовлеченности сотрудников</a:t>
            </a:r>
          </a:p>
          <a:p>
            <a:pPr marL="265113">
              <a:lnSpc>
                <a:spcPct val="150000"/>
              </a:lnSpc>
            </a:pPr>
            <a:r>
              <a:rPr lang="ru-RU" sz="1400" dirty="0"/>
              <a:t>2.3. Улучшение кросс-функционального взаимодействия</a:t>
            </a:r>
          </a:p>
          <a:p>
            <a:pPr marL="265113">
              <a:lnSpc>
                <a:spcPct val="150000"/>
              </a:lnSpc>
            </a:pPr>
            <a:r>
              <a:rPr lang="ru-RU" sz="1400" dirty="0"/>
              <a:t>2.4. Изменение ментальных установок сотрудников (формирование лидерской позиции</a:t>
            </a:r>
            <a:r>
              <a:rPr lang="ru-RU" sz="1400" dirty="0" smtClean="0"/>
              <a:t>)</a:t>
            </a:r>
          </a:p>
          <a:p>
            <a:pPr marL="265113">
              <a:lnSpc>
                <a:spcPct val="150000"/>
              </a:lnSpc>
            </a:pPr>
            <a:r>
              <a:rPr lang="ru-RU" sz="1400" dirty="0" smtClean="0"/>
              <a:t>2.5. Повышение финансового результата компании</a:t>
            </a:r>
            <a:endParaRPr lang="ru-RU" sz="1400" dirty="0"/>
          </a:p>
          <a:p>
            <a:pPr>
              <a:lnSpc>
                <a:spcPct val="150000"/>
              </a:lnSpc>
            </a:pPr>
            <a:r>
              <a:rPr lang="ru-RU" sz="1400" dirty="0" smtClean="0"/>
              <a:t>3. Создание привлекательного имиджа во внешней экосистеме и формирование бренда привлекательного сотрудника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2103780" y="4434338"/>
            <a:ext cx="5864428" cy="14003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400" b="1" dirty="0" smtClean="0"/>
              <a:t>«Здоровые сотрудники – здоровая компания»</a:t>
            </a:r>
          </a:p>
          <a:p>
            <a:endParaRPr lang="ru-RU" sz="1400" dirty="0"/>
          </a:p>
          <a:p>
            <a:pPr>
              <a:lnSpc>
                <a:spcPct val="150000"/>
              </a:lnSpc>
            </a:pPr>
            <a:r>
              <a:rPr lang="ru-RU" sz="1400" dirty="0" smtClean="0"/>
              <a:t>Спортивное движение </a:t>
            </a:r>
            <a:r>
              <a:rPr lang="en-US" sz="1400" b="1" dirty="0" smtClean="0"/>
              <a:t>No limits </a:t>
            </a:r>
            <a:r>
              <a:rPr lang="ru-RU" sz="1400" dirty="0" smtClean="0"/>
              <a:t>– это не просто преодоление сверхамбициозных целей, а отсутствие границ непрерывного совершенствования себя</a:t>
            </a:r>
          </a:p>
        </p:txBody>
      </p:sp>
      <p:sp>
        <p:nvSpPr>
          <p:cNvPr id="39" name="Овал 38">
            <a:extLst>
              <a:ext uri="{FF2B5EF4-FFF2-40B4-BE49-F238E27FC236}">
                <a16:creationId xmlns:a16="http://schemas.microsoft.com/office/drawing/2014/main" id="{4670AE56-3437-834F-8D05-8DDAF053F174}"/>
              </a:ext>
            </a:extLst>
          </p:cNvPr>
          <p:cNvSpPr>
            <a:spLocks noChangeAspect="1"/>
          </p:cNvSpPr>
          <p:nvPr/>
        </p:nvSpPr>
        <p:spPr>
          <a:xfrm>
            <a:off x="310822" y="1622001"/>
            <a:ext cx="1633251" cy="1633250"/>
          </a:xfrm>
          <a:prstGeom prst="ellipse">
            <a:avLst/>
          </a:prstGeom>
          <a:noFill/>
          <a:ln>
            <a:gradFill flip="none" rotWithShape="1">
              <a:gsLst>
                <a:gs pos="0">
                  <a:schemeClr val="accent1">
                    <a:alpha val="70000"/>
                  </a:schemeClr>
                </a:gs>
                <a:gs pos="100000">
                  <a:schemeClr val="accent4">
                    <a:alpha val="70000"/>
                  </a:schemeClr>
                </a:gs>
              </a:gsLst>
              <a:lin ang="0" scaled="1"/>
              <a:tileRect/>
            </a:gra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ru-RU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Овал 40">
            <a:extLst>
              <a:ext uri="{FF2B5EF4-FFF2-40B4-BE49-F238E27FC236}">
                <a16:creationId xmlns:a16="http://schemas.microsoft.com/office/drawing/2014/main" id="{4670AE56-3437-834F-8D05-8DDAF053F174}"/>
              </a:ext>
            </a:extLst>
          </p:cNvPr>
          <p:cNvSpPr>
            <a:spLocks noChangeAspect="1"/>
          </p:cNvSpPr>
          <p:nvPr/>
        </p:nvSpPr>
        <p:spPr>
          <a:xfrm>
            <a:off x="310822" y="4256171"/>
            <a:ext cx="1633251" cy="1633250"/>
          </a:xfrm>
          <a:prstGeom prst="ellipse">
            <a:avLst/>
          </a:prstGeom>
          <a:noFill/>
          <a:ln>
            <a:gradFill flip="none" rotWithShape="1">
              <a:gsLst>
                <a:gs pos="0">
                  <a:schemeClr val="accent1">
                    <a:alpha val="70000"/>
                  </a:schemeClr>
                </a:gs>
                <a:gs pos="100000">
                  <a:schemeClr val="accent4">
                    <a:alpha val="70000"/>
                  </a:schemeClr>
                </a:gs>
              </a:gsLst>
              <a:lin ang="0" scaled="1"/>
              <a:tileRect/>
            </a:gra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ru-RU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74926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71308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03"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0" name="Picture 2" descr="https://cdn-3.expansion.mx/dims4/default/d8994ca/2147483647/strip/true/crop/2165x1385+0+0/resize/1600x1024!/quality/90/?url=https%3A%2F%2Fcdn-3.expansion.mx%2F11%2Fe7%2Fb0a7262b4865aac085799ff2180b%2Fistock-878692208.jpg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703" b="2676"/>
          <a:stretch/>
        </p:blipFill>
        <p:spPr bwMode="auto">
          <a:xfrm>
            <a:off x="0" y="0"/>
            <a:ext cx="12172582" cy="6876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5F065BF5-DA93-A14A-988B-F69E768177D9}"/>
              </a:ext>
            </a:extLst>
          </p:cNvPr>
          <p:cNvSpPr/>
          <p:nvPr/>
        </p:nvSpPr>
        <p:spPr>
          <a:xfrm>
            <a:off x="-11324" y="-18535"/>
            <a:ext cx="12203324" cy="6895070"/>
          </a:xfrm>
          <a:prstGeom prst="rect">
            <a:avLst/>
          </a:prstGeom>
          <a:gradFill>
            <a:gsLst>
              <a:gs pos="0">
                <a:schemeClr val="tx1">
                  <a:alpha val="55000"/>
                </a:schemeClr>
              </a:gs>
              <a:gs pos="100000">
                <a:schemeClr val="accent2">
                  <a:lumMod val="40000"/>
                  <a:alpha val="93000"/>
                </a:schemeClr>
              </a:gs>
            </a:gsLst>
            <a:lin ang="2700000" scaled="0"/>
          </a:gra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" name="Овал 26">
            <a:extLst>
              <a:ext uri="{FF2B5EF4-FFF2-40B4-BE49-F238E27FC236}">
                <a16:creationId xmlns:a16="http://schemas.microsoft.com/office/drawing/2014/main" id="{35C3720F-04A1-0E4B-913C-21058594249C}"/>
              </a:ext>
            </a:extLst>
          </p:cNvPr>
          <p:cNvSpPr>
            <a:spLocks noChangeAspect="1"/>
          </p:cNvSpPr>
          <p:nvPr/>
        </p:nvSpPr>
        <p:spPr>
          <a:xfrm>
            <a:off x="479376" y="1448780"/>
            <a:ext cx="1224000" cy="1224000"/>
          </a:xfrm>
          <a:prstGeom prst="ellipse">
            <a:avLst/>
          </a:prstGeom>
          <a:gradFill>
            <a:gsLst>
              <a:gs pos="0">
                <a:schemeClr val="accent5"/>
              </a:gs>
              <a:gs pos="99000">
                <a:schemeClr val="accent2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>
            <a:outerShdw blurRad="177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18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" name="Овал 28">
            <a:extLst>
              <a:ext uri="{FF2B5EF4-FFF2-40B4-BE49-F238E27FC236}">
                <a16:creationId xmlns:a16="http://schemas.microsoft.com/office/drawing/2014/main" id="{E10F7520-E99E-434A-9E53-128B06785FE1}"/>
              </a:ext>
            </a:extLst>
          </p:cNvPr>
          <p:cNvSpPr>
            <a:spLocks noChangeAspect="1"/>
          </p:cNvSpPr>
          <p:nvPr/>
        </p:nvSpPr>
        <p:spPr>
          <a:xfrm>
            <a:off x="479376" y="3201294"/>
            <a:ext cx="1224000" cy="1224000"/>
          </a:xfrm>
          <a:prstGeom prst="ellipse">
            <a:avLst/>
          </a:prstGeom>
          <a:gradFill>
            <a:gsLst>
              <a:gs pos="0">
                <a:schemeClr val="accent4"/>
              </a:gs>
              <a:gs pos="99000">
                <a:schemeClr val="accent4">
                  <a:lumMod val="75000"/>
                </a:scheme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>
            <a:outerShdw blurRad="177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19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34" name="Group 8">
            <a:extLst>
              <a:ext uri="{FF2B5EF4-FFF2-40B4-BE49-F238E27FC236}">
                <a16:creationId xmlns:a16="http://schemas.microsoft.com/office/drawing/2014/main" id="{5168EB4A-21E6-4E6A-BD68-DA9D589452E1}"/>
              </a:ext>
            </a:extLst>
          </p:cNvPr>
          <p:cNvGrpSpPr>
            <a:grpSpLocks noChangeAspect="1"/>
          </p:cNvGrpSpPr>
          <p:nvPr/>
        </p:nvGrpSpPr>
        <p:grpSpPr>
          <a:xfrm>
            <a:off x="10716016" y="350913"/>
            <a:ext cx="1138640" cy="356400"/>
            <a:chOff x="715963" y="1420813"/>
            <a:chExt cx="4321175" cy="1352550"/>
          </a:xfrm>
          <a:solidFill>
            <a:schemeClr val="bg1"/>
          </a:solidFill>
        </p:grpSpPr>
        <p:sp>
          <p:nvSpPr>
            <p:cNvPr id="36" name="Freeform 1">
              <a:extLst>
                <a:ext uri="{FF2B5EF4-FFF2-40B4-BE49-F238E27FC236}">
                  <a16:creationId xmlns:a16="http://schemas.microsoft.com/office/drawing/2014/main" id="{B5548E98-AF50-4F6B-8CF3-9757500A1C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01788" y="2143125"/>
              <a:ext cx="374650" cy="425450"/>
            </a:xfrm>
            <a:custGeom>
              <a:avLst/>
              <a:gdLst>
                <a:gd name="T0" fmla="*/ 482 w 1042"/>
                <a:gd name="T1" fmla="*/ 2 h 1180"/>
                <a:gd name="T2" fmla="*/ 687 w 1042"/>
                <a:gd name="T3" fmla="*/ 9 h 1180"/>
                <a:gd name="T4" fmla="*/ 992 w 1042"/>
                <a:gd name="T5" fmla="*/ 280 h 1180"/>
                <a:gd name="T6" fmla="*/ 792 w 1042"/>
                <a:gd name="T7" fmla="*/ 529 h 1180"/>
                <a:gd name="T8" fmla="*/ 792 w 1042"/>
                <a:gd name="T9" fmla="*/ 538 h 1180"/>
                <a:gd name="T10" fmla="*/ 1041 w 1042"/>
                <a:gd name="T11" fmla="*/ 818 h 1180"/>
                <a:gd name="T12" fmla="*/ 568 w 1042"/>
                <a:gd name="T13" fmla="*/ 1178 h 1180"/>
                <a:gd name="T14" fmla="*/ 405 w 1042"/>
                <a:gd name="T15" fmla="*/ 1179 h 1180"/>
                <a:gd name="T16" fmla="*/ 0 w 1042"/>
                <a:gd name="T17" fmla="*/ 1179 h 1180"/>
                <a:gd name="T18" fmla="*/ 0 w 1042"/>
                <a:gd name="T19" fmla="*/ 2 h 1180"/>
                <a:gd name="T20" fmla="*/ 482 w 1042"/>
                <a:gd name="T21" fmla="*/ 2 h 1180"/>
                <a:gd name="T22" fmla="*/ 338 w 1042"/>
                <a:gd name="T23" fmla="*/ 955 h 1180"/>
                <a:gd name="T24" fmla="*/ 475 w 1042"/>
                <a:gd name="T25" fmla="*/ 955 h 1180"/>
                <a:gd name="T26" fmla="*/ 706 w 1042"/>
                <a:gd name="T27" fmla="*/ 808 h 1180"/>
                <a:gd name="T28" fmla="*/ 459 w 1042"/>
                <a:gd name="T29" fmla="*/ 666 h 1180"/>
                <a:gd name="T30" fmla="*/ 338 w 1042"/>
                <a:gd name="T31" fmla="*/ 666 h 1180"/>
                <a:gd name="T32" fmla="*/ 338 w 1042"/>
                <a:gd name="T33" fmla="*/ 955 h 1180"/>
                <a:gd name="T34" fmla="*/ 345 w 1042"/>
                <a:gd name="T35" fmla="*/ 459 h 1180"/>
                <a:gd name="T36" fmla="*/ 447 w 1042"/>
                <a:gd name="T37" fmla="*/ 459 h 1180"/>
                <a:gd name="T38" fmla="*/ 671 w 1042"/>
                <a:gd name="T39" fmla="*/ 340 h 1180"/>
                <a:gd name="T40" fmla="*/ 482 w 1042"/>
                <a:gd name="T41" fmla="*/ 226 h 1180"/>
                <a:gd name="T42" fmla="*/ 344 w 1042"/>
                <a:gd name="T43" fmla="*/ 226 h 1180"/>
                <a:gd name="T44" fmla="*/ 344 w 1042"/>
                <a:gd name="T45" fmla="*/ 459 h 1180"/>
                <a:gd name="T46" fmla="*/ 345 w 1042"/>
                <a:gd name="T47" fmla="*/ 459 h 1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42" h="1180">
                  <a:moveTo>
                    <a:pt x="482" y="2"/>
                  </a:moveTo>
                  <a:cubicBezTo>
                    <a:pt x="539" y="1"/>
                    <a:pt x="621" y="0"/>
                    <a:pt x="687" y="9"/>
                  </a:cubicBezTo>
                  <a:cubicBezTo>
                    <a:pt x="838" y="29"/>
                    <a:pt x="992" y="96"/>
                    <a:pt x="992" y="280"/>
                  </a:cubicBezTo>
                  <a:cubicBezTo>
                    <a:pt x="992" y="433"/>
                    <a:pt x="901" y="506"/>
                    <a:pt x="792" y="529"/>
                  </a:cubicBezTo>
                  <a:lnTo>
                    <a:pt x="792" y="538"/>
                  </a:lnTo>
                  <a:cubicBezTo>
                    <a:pt x="950" y="566"/>
                    <a:pt x="1041" y="650"/>
                    <a:pt x="1041" y="818"/>
                  </a:cubicBezTo>
                  <a:cubicBezTo>
                    <a:pt x="1041" y="1092"/>
                    <a:pt x="780" y="1167"/>
                    <a:pt x="568" y="1178"/>
                  </a:cubicBezTo>
                  <a:cubicBezTo>
                    <a:pt x="516" y="1179"/>
                    <a:pt x="450" y="1179"/>
                    <a:pt x="405" y="1179"/>
                  </a:cubicBezTo>
                  <a:lnTo>
                    <a:pt x="0" y="1179"/>
                  </a:lnTo>
                  <a:lnTo>
                    <a:pt x="0" y="2"/>
                  </a:lnTo>
                  <a:lnTo>
                    <a:pt x="482" y="2"/>
                  </a:lnTo>
                  <a:close/>
                  <a:moveTo>
                    <a:pt x="338" y="955"/>
                  </a:moveTo>
                  <a:lnTo>
                    <a:pt x="475" y="955"/>
                  </a:lnTo>
                  <a:cubicBezTo>
                    <a:pt x="591" y="955"/>
                    <a:pt x="706" y="920"/>
                    <a:pt x="706" y="808"/>
                  </a:cubicBezTo>
                  <a:cubicBezTo>
                    <a:pt x="706" y="704"/>
                    <a:pt x="619" y="666"/>
                    <a:pt x="459" y="666"/>
                  </a:cubicBezTo>
                  <a:lnTo>
                    <a:pt x="338" y="666"/>
                  </a:lnTo>
                  <a:lnTo>
                    <a:pt x="338" y="955"/>
                  </a:lnTo>
                  <a:close/>
                  <a:moveTo>
                    <a:pt x="345" y="459"/>
                  </a:moveTo>
                  <a:lnTo>
                    <a:pt x="447" y="459"/>
                  </a:lnTo>
                  <a:cubicBezTo>
                    <a:pt x="587" y="459"/>
                    <a:pt x="671" y="431"/>
                    <a:pt x="671" y="340"/>
                  </a:cubicBezTo>
                  <a:cubicBezTo>
                    <a:pt x="671" y="268"/>
                    <a:pt x="619" y="226"/>
                    <a:pt x="482" y="226"/>
                  </a:cubicBezTo>
                  <a:lnTo>
                    <a:pt x="344" y="226"/>
                  </a:lnTo>
                  <a:lnTo>
                    <a:pt x="344" y="459"/>
                  </a:lnTo>
                  <a:lnTo>
                    <a:pt x="345" y="459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" name="Freeform 2">
              <a:extLst>
                <a:ext uri="{FF2B5EF4-FFF2-40B4-BE49-F238E27FC236}">
                  <a16:creationId xmlns:a16="http://schemas.microsoft.com/office/drawing/2014/main" id="{9FF072C4-42F4-4A67-A8AE-E519A327AD6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5963" y="1971675"/>
              <a:ext cx="3636962" cy="801688"/>
            </a:xfrm>
            <a:custGeom>
              <a:avLst/>
              <a:gdLst>
                <a:gd name="T0" fmla="*/ 0 w 10102"/>
                <a:gd name="T1" fmla="*/ 847 h 2228"/>
                <a:gd name="T2" fmla="*/ 1235 w 10102"/>
                <a:gd name="T3" fmla="*/ 75 h 2228"/>
                <a:gd name="T4" fmla="*/ 874 w 10102"/>
                <a:gd name="T5" fmla="*/ 275 h 2228"/>
                <a:gd name="T6" fmla="*/ 841 w 10102"/>
                <a:gd name="T7" fmla="*/ 1388 h 2228"/>
                <a:gd name="T8" fmla="*/ 1293 w 10102"/>
                <a:gd name="T9" fmla="*/ 1528 h 2228"/>
                <a:gd name="T10" fmla="*/ 6541 w 10102"/>
                <a:gd name="T11" fmla="*/ 1677 h 2228"/>
                <a:gd name="T12" fmla="*/ 6569 w 10102"/>
                <a:gd name="T13" fmla="*/ 454 h 2228"/>
                <a:gd name="T14" fmla="*/ 6863 w 10102"/>
                <a:gd name="T15" fmla="*/ 787 h 2228"/>
                <a:gd name="T16" fmla="*/ 6306 w 10102"/>
                <a:gd name="T17" fmla="*/ 1053 h 2228"/>
                <a:gd name="T18" fmla="*/ 6842 w 10102"/>
                <a:gd name="T19" fmla="*/ 1348 h 2228"/>
                <a:gd name="T20" fmla="*/ 6541 w 10102"/>
                <a:gd name="T21" fmla="*/ 1677 h 2228"/>
                <a:gd name="T22" fmla="*/ 7585 w 10102"/>
                <a:gd name="T23" fmla="*/ 1654 h 2228"/>
                <a:gd name="T24" fmla="*/ 7250 w 10102"/>
                <a:gd name="T25" fmla="*/ 743 h 2228"/>
                <a:gd name="T26" fmla="*/ 6924 w 10102"/>
                <a:gd name="T27" fmla="*/ 477 h 2228"/>
                <a:gd name="T28" fmla="*/ 7870 w 10102"/>
                <a:gd name="T29" fmla="*/ 743 h 2228"/>
                <a:gd name="T30" fmla="*/ 9197 w 10102"/>
                <a:gd name="T31" fmla="*/ 614 h 2228"/>
                <a:gd name="T32" fmla="*/ 8951 w 10102"/>
                <a:gd name="T33" fmla="*/ 1428 h 2228"/>
                <a:gd name="T34" fmla="*/ 9321 w 10102"/>
                <a:gd name="T35" fmla="*/ 1560 h 2228"/>
                <a:gd name="T36" fmla="*/ 9503 w 10102"/>
                <a:gd name="T37" fmla="*/ 801 h 2228"/>
                <a:gd name="T38" fmla="*/ 9765 w 10102"/>
                <a:gd name="T39" fmla="*/ 743 h 2228"/>
                <a:gd name="T40" fmla="*/ 10101 w 10102"/>
                <a:gd name="T41" fmla="*/ 1654 h 2228"/>
                <a:gd name="T42" fmla="*/ 9197 w 10102"/>
                <a:gd name="T43" fmla="*/ 477 h 2228"/>
                <a:gd name="T44" fmla="*/ 1904 w 10102"/>
                <a:gd name="T45" fmla="*/ 1414 h 2228"/>
                <a:gd name="T46" fmla="*/ 2311 w 10102"/>
                <a:gd name="T47" fmla="*/ 1542 h 2228"/>
                <a:gd name="T48" fmla="*/ 1256 w 10102"/>
                <a:gd name="T49" fmla="*/ 1069 h 2228"/>
                <a:gd name="T50" fmla="*/ 2351 w 10102"/>
                <a:gd name="T51" fmla="*/ 1055 h 2228"/>
                <a:gd name="T52" fmla="*/ 1591 w 10102"/>
                <a:gd name="T53" fmla="*/ 1157 h 2228"/>
                <a:gd name="T54" fmla="*/ 1796 w 10102"/>
                <a:gd name="T55" fmla="*/ 698 h 2228"/>
                <a:gd name="T56" fmla="*/ 2008 w 10102"/>
                <a:gd name="T57" fmla="*/ 927 h 2228"/>
                <a:gd name="T58" fmla="*/ 4215 w 10102"/>
                <a:gd name="T59" fmla="*/ 1414 h 2228"/>
                <a:gd name="T60" fmla="*/ 4623 w 10102"/>
                <a:gd name="T61" fmla="*/ 1542 h 2228"/>
                <a:gd name="T62" fmla="*/ 3567 w 10102"/>
                <a:gd name="T63" fmla="*/ 1069 h 2228"/>
                <a:gd name="T64" fmla="*/ 4662 w 10102"/>
                <a:gd name="T65" fmla="*/ 1055 h 2228"/>
                <a:gd name="T66" fmla="*/ 3903 w 10102"/>
                <a:gd name="T67" fmla="*/ 1157 h 2228"/>
                <a:gd name="T68" fmla="*/ 4108 w 10102"/>
                <a:gd name="T69" fmla="*/ 698 h 2228"/>
                <a:gd name="T70" fmla="*/ 4320 w 10102"/>
                <a:gd name="T71" fmla="*/ 927 h 2228"/>
                <a:gd name="T72" fmla="*/ 8596 w 10102"/>
                <a:gd name="T73" fmla="*/ 1549 h 2228"/>
                <a:gd name="T74" fmla="*/ 7881 w 10102"/>
                <a:gd name="T75" fmla="*/ 1295 h 2228"/>
                <a:gd name="T76" fmla="*/ 8578 w 10102"/>
                <a:gd name="T77" fmla="*/ 901 h 2228"/>
                <a:gd name="T78" fmla="*/ 8361 w 10102"/>
                <a:gd name="T79" fmla="*/ 705 h 2228"/>
                <a:gd name="T80" fmla="*/ 7960 w 10102"/>
                <a:gd name="T81" fmla="*/ 582 h 2228"/>
                <a:gd name="T82" fmla="*/ 8911 w 10102"/>
                <a:gd name="T83" fmla="*/ 887 h 2228"/>
                <a:gd name="T84" fmla="*/ 8650 w 10102"/>
                <a:gd name="T85" fmla="*/ 1654 h 2228"/>
                <a:gd name="T86" fmla="*/ 8429 w 10102"/>
                <a:gd name="T87" fmla="*/ 1127 h 2228"/>
                <a:gd name="T88" fmla="*/ 8394 w 10102"/>
                <a:gd name="T89" fmla="*/ 1416 h 2228"/>
                <a:gd name="T90" fmla="*/ 8575 w 10102"/>
                <a:gd name="T91" fmla="*/ 1122 h 2228"/>
                <a:gd name="T92" fmla="*/ 5105 w 10102"/>
                <a:gd name="T93" fmla="*/ 1628 h 2228"/>
                <a:gd name="T94" fmla="*/ 4769 w 10102"/>
                <a:gd name="T95" fmla="*/ 2227 h 2228"/>
                <a:gd name="T96" fmla="*/ 5051 w 10102"/>
                <a:gd name="T97" fmla="*/ 477 h 2228"/>
                <a:gd name="T98" fmla="*/ 5406 w 10102"/>
                <a:gd name="T99" fmla="*/ 454 h 2228"/>
                <a:gd name="T100" fmla="*/ 5331 w 10102"/>
                <a:gd name="T101" fmla="*/ 1677 h 2228"/>
                <a:gd name="T102" fmla="*/ 5105 w 10102"/>
                <a:gd name="T103" fmla="*/ 831 h 2228"/>
                <a:gd name="T104" fmla="*/ 5249 w 10102"/>
                <a:gd name="T105" fmla="*/ 1435 h 2228"/>
                <a:gd name="T106" fmla="*/ 5338 w 10102"/>
                <a:gd name="T107" fmla="*/ 698 h 2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0102" h="2228">
                  <a:moveTo>
                    <a:pt x="787" y="1677"/>
                  </a:moveTo>
                  <a:cubicBezTo>
                    <a:pt x="277" y="1677"/>
                    <a:pt x="0" y="1309"/>
                    <a:pt x="0" y="847"/>
                  </a:cubicBezTo>
                  <a:cubicBezTo>
                    <a:pt x="0" y="381"/>
                    <a:pt x="326" y="0"/>
                    <a:pt x="862" y="0"/>
                  </a:cubicBezTo>
                  <a:cubicBezTo>
                    <a:pt x="1004" y="0"/>
                    <a:pt x="1127" y="19"/>
                    <a:pt x="1235" y="75"/>
                  </a:cubicBezTo>
                  <a:lnTo>
                    <a:pt x="1235" y="374"/>
                  </a:lnTo>
                  <a:cubicBezTo>
                    <a:pt x="1093" y="292"/>
                    <a:pt x="978" y="275"/>
                    <a:pt x="874" y="275"/>
                  </a:cubicBezTo>
                  <a:cubicBezTo>
                    <a:pt x="510" y="275"/>
                    <a:pt x="368" y="542"/>
                    <a:pt x="368" y="824"/>
                  </a:cubicBezTo>
                  <a:cubicBezTo>
                    <a:pt x="368" y="1139"/>
                    <a:pt x="545" y="1388"/>
                    <a:pt x="841" y="1388"/>
                  </a:cubicBezTo>
                  <a:cubicBezTo>
                    <a:pt x="972" y="1388"/>
                    <a:pt x="1079" y="1358"/>
                    <a:pt x="1204" y="1290"/>
                  </a:cubicBezTo>
                  <a:lnTo>
                    <a:pt x="1293" y="1528"/>
                  </a:lnTo>
                  <a:cubicBezTo>
                    <a:pt x="1104" y="1647"/>
                    <a:pt x="944" y="1677"/>
                    <a:pt x="787" y="1677"/>
                  </a:cubicBezTo>
                  <a:close/>
                  <a:moveTo>
                    <a:pt x="6541" y="1677"/>
                  </a:moveTo>
                  <a:cubicBezTo>
                    <a:pt x="6164" y="1677"/>
                    <a:pt x="5972" y="1400"/>
                    <a:pt x="5972" y="1069"/>
                  </a:cubicBezTo>
                  <a:cubicBezTo>
                    <a:pt x="5972" y="698"/>
                    <a:pt x="6227" y="454"/>
                    <a:pt x="6569" y="454"/>
                  </a:cubicBezTo>
                  <a:cubicBezTo>
                    <a:pt x="6721" y="454"/>
                    <a:pt x="6800" y="484"/>
                    <a:pt x="6863" y="521"/>
                  </a:cubicBezTo>
                  <a:lnTo>
                    <a:pt x="6863" y="787"/>
                  </a:lnTo>
                  <a:cubicBezTo>
                    <a:pt x="6779" y="726"/>
                    <a:pt x="6712" y="705"/>
                    <a:pt x="6618" y="705"/>
                  </a:cubicBezTo>
                  <a:cubicBezTo>
                    <a:pt x="6425" y="705"/>
                    <a:pt x="6306" y="847"/>
                    <a:pt x="6306" y="1053"/>
                  </a:cubicBezTo>
                  <a:cubicBezTo>
                    <a:pt x="6306" y="1236"/>
                    <a:pt x="6397" y="1416"/>
                    <a:pt x="6614" y="1416"/>
                  </a:cubicBezTo>
                  <a:cubicBezTo>
                    <a:pt x="6674" y="1416"/>
                    <a:pt x="6756" y="1393"/>
                    <a:pt x="6842" y="1348"/>
                  </a:cubicBezTo>
                  <a:lnTo>
                    <a:pt x="6921" y="1565"/>
                  </a:lnTo>
                  <a:cubicBezTo>
                    <a:pt x="6823" y="1630"/>
                    <a:pt x="6660" y="1677"/>
                    <a:pt x="6541" y="1677"/>
                  </a:cubicBezTo>
                  <a:close/>
                  <a:moveTo>
                    <a:pt x="7585" y="743"/>
                  </a:moveTo>
                  <a:lnTo>
                    <a:pt x="7585" y="1654"/>
                  </a:lnTo>
                  <a:lnTo>
                    <a:pt x="7250" y="1654"/>
                  </a:lnTo>
                  <a:lnTo>
                    <a:pt x="7250" y="743"/>
                  </a:lnTo>
                  <a:lnTo>
                    <a:pt x="6924" y="743"/>
                  </a:lnTo>
                  <a:lnTo>
                    <a:pt x="6924" y="477"/>
                  </a:lnTo>
                  <a:lnTo>
                    <a:pt x="7953" y="477"/>
                  </a:lnTo>
                  <a:lnTo>
                    <a:pt x="7870" y="743"/>
                  </a:lnTo>
                  <a:lnTo>
                    <a:pt x="7585" y="743"/>
                  </a:lnTo>
                  <a:close/>
                  <a:moveTo>
                    <a:pt x="9197" y="614"/>
                  </a:moveTo>
                  <a:cubicBezTo>
                    <a:pt x="9197" y="1024"/>
                    <a:pt x="9181" y="1239"/>
                    <a:pt x="9107" y="1337"/>
                  </a:cubicBezTo>
                  <a:cubicBezTo>
                    <a:pt x="9069" y="1386"/>
                    <a:pt x="9011" y="1418"/>
                    <a:pt x="8951" y="1428"/>
                  </a:cubicBezTo>
                  <a:lnTo>
                    <a:pt x="9044" y="1677"/>
                  </a:lnTo>
                  <a:cubicBezTo>
                    <a:pt x="9121" y="1674"/>
                    <a:pt x="9239" y="1642"/>
                    <a:pt x="9321" y="1560"/>
                  </a:cubicBezTo>
                  <a:cubicBezTo>
                    <a:pt x="9428" y="1456"/>
                    <a:pt x="9463" y="1323"/>
                    <a:pt x="9479" y="1183"/>
                  </a:cubicBezTo>
                  <a:cubicBezTo>
                    <a:pt x="9494" y="1064"/>
                    <a:pt x="9503" y="924"/>
                    <a:pt x="9503" y="801"/>
                  </a:cubicBezTo>
                  <a:lnTo>
                    <a:pt x="9503" y="743"/>
                  </a:lnTo>
                  <a:lnTo>
                    <a:pt x="9765" y="743"/>
                  </a:lnTo>
                  <a:lnTo>
                    <a:pt x="9765" y="1654"/>
                  </a:lnTo>
                  <a:lnTo>
                    <a:pt x="10101" y="1654"/>
                  </a:lnTo>
                  <a:lnTo>
                    <a:pt x="10101" y="477"/>
                  </a:lnTo>
                  <a:lnTo>
                    <a:pt x="9197" y="477"/>
                  </a:lnTo>
                  <a:lnTo>
                    <a:pt x="9197" y="614"/>
                  </a:lnTo>
                  <a:close/>
                  <a:moveTo>
                    <a:pt x="1904" y="1414"/>
                  </a:moveTo>
                  <a:cubicBezTo>
                    <a:pt x="2018" y="1414"/>
                    <a:pt x="2104" y="1393"/>
                    <a:pt x="2237" y="1330"/>
                  </a:cubicBezTo>
                  <a:lnTo>
                    <a:pt x="2311" y="1542"/>
                  </a:lnTo>
                  <a:cubicBezTo>
                    <a:pt x="2148" y="1644"/>
                    <a:pt x="1990" y="1677"/>
                    <a:pt x="1848" y="1677"/>
                  </a:cubicBezTo>
                  <a:cubicBezTo>
                    <a:pt x="1428" y="1677"/>
                    <a:pt x="1256" y="1379"/>
                    <a:pt x="1256" y="1069"/>
                  </a:cubicBezTo>
                  <a:cubicBezTo>
                    <a:pt x="1256" y="738"/>
                    <a:pt x="1454" y="454"/>
                    <a:pt x="1805" y="454"/>
                  </a:cubicBezTo>
                  <a:cubicBezTo>
                    <a:pt x="2127" y="454"/>
                    <a:pt x="2351" y="691"/>
                    <a:pt x="2351" y="1055"/>
                  </a:cubicBezTo>
                  <a:lnTo>
                    <a:pt x="2351" y="1157"/>
                  </a:lnTo>
                  <a:lnTo>
                    <a:pt x="1591" y="1157"/>
                  </a:lnTo>
                  <a:cubicBezTo>
                    <a:pt x="1598" y="1316"/>
                    <a:pt x="1748" y="1414"/>
                    <a:pt x="1904" y="1414"/>
                  </a:cubicBezTo>
                  <a:close/>
                  <a:moveTo>
                    <a:pt x="1796" y="698"/>
                  </a:moveTo>
                  <a:cubicBezTo>
                    <a:pt x="1661" y="698"/>
                    <a:pt x="1584" y="819"/>
                    <a:pt x="1584" y="927"/>
                  </a:cubicBezTo>
                  <a:lnTo>
                    <a:pt x="2008" y="927"/>
                  </a:lnTo>
                  <a:cubicBezTo>
                    <a:pt x="2001" y="815"/>
                    <a:pt x="1938" y="698"/>
                    <a:pt x="1796" y="698"/>
                  </a:cubicBezTo>
                  <a:close/>
                  <a:moveTo>
                    <a:pt x="4215" y="1414"/>
                  </a:moveTo>
                  <a:cubicBezTo>
                    <a:pt x="4329" y="1414"/>
                    <a:pt x="4415" y="1393"/>
                    <a:pt x="4548" y="1330"/>
                  </a:cubicBezTo>
                  <a:lnTo>
                    <a:pt x="4623" y="1542"/>
                  </a:lnTo>
                  <a:cubicBezTo>
                    <a:pt x="4459" y="1644"/>
                    <a:pt x="4301" y="1677"/>
                    <a:pt x="4159" y="1677"/>
                  </a:cubicBezTo>
                  <a:cubicBezTo>
                    <a:pt x="3740" y="1677"/>
                    <a:pt x="3567" y="1379"/>
                    <a:pt x="3567" y="1069"/>
                  </a:cubicBezTo>
                  <a:cubicBezTo>
                    <a:pt x="3567" y="738"/>
                    <a:pt x="3765" y="454"/>
                    <a:pt x="4117" y="454"/>
                  </a:cubicBezTo>
                  <a:cubicBezTo>
                    <a:pt x="4438" y="454"/>
                    <a:pt x="4662" y="691"/>
                    <a:pt x="4662" y="1055"/>
                  </a:cubicBezTo>
                  <a:lnTo>
                    <a:pt x="4662" y="1157"/>
                  </a:lnTo>
                  <a:lnTo>
                    <a:pt x="3903" y="1157"/>
                  </a:lnTo>
                  <a:cubicBezTo>
                    <a:pt x="3910" y="1316"/>
                    <a:pt x="4059" y="1414"/>
                    <a:pt x="4215" y="1414"/>
                  </a:cubicBezTo>
                  <a:close/>
                  <a:moveTo>
                    <a:pt x="4108" y="698"/>
                  </a:moveTo>
                  <a:cubicBezTo>
                    <a:pt x="3973" y="698"/>
                    <a:pt x="3895" y="819"/>
                    <a:pt x="3895" y="927"/>
                  </a:cubicBezTo>
                  <a:lnTo>
                    <a:pt x="4320" y="927"/>
                  </a:lnTo>
                  <a:cubicBezTo>
                    <a:pt x="4313" y="815"/>
                    <a:pt x="4250" y="698"/>
                    <a:pt x="4108" y="698"/>
                  </a:cubicBezTo>
                  <a:close/>
                  <a:moveTo>
                    <a:pt x="8596" y="1549"/>
                  </a:moveTo>
                  <a:cubicBezTo>
                    <a:pt x="8517" y="1621"/>
                    <a:pt x="8424" y="1677"/>
                    <a:pt x="8273" y="1677"/>
                  </a:cubicBezTo>
                  <a:cubicBezTo>
                    <a:pt x="8049" y="1677"/>
                    <a:pt x="7881" y="1528"/>
                    <a:pt x="7881" y="1295"/>
                  </a:cubicBezTo>
                  <a:cubicBezTo>
                    <a:pt x="7881" y="1045"/>
                    <a:pt x="8082" y="917"/>
                    <a:pt x="8380" y="908"/>
                  </a:cubicBezTo>
                  <a:lnTo>
                    <a:pt x="8578" y="901"/>
                  </a:lnTo>
                  <a:lnTo>
                    <a:pt x="8578" y="878"/>
                  </a:lnTo>
                  <a:cubicBezTo>
                    <a:pt x="8578" y="754"/>
                    <a:pt x="8478" y="705"/>
                    <a:pt x="8361" y="705"/>
                  </a:cubicBezTo>
                  <a:cubicBezTo>
                    <a:pt x="8242" y="705"/>
                    <a:pt x="8140" y="740"/>
                    <a:pt x="8063" y="787"/>
                  </a:cubicBezTo>
                  <a:lnTo>
                    <a:pt x="7960" y="582"/>
                  </a:lnTo>
                  <a:cubicBezTo>
                    <a:pt x="8121" y="477"/>
                    <a:pt x="8275" y="454"/>
                    <a:pt x="8436" y="454"/>
                  </a:cubicBezTo>
                  <a:cubicBezTo>
                    <a:pt x="8746" y="454"/>
                    <a:pt x="8911" y="577"/>
                    <a:pt x="8911" y="887"/>
                  </a:cubicBezTo>
                  <a:lnTo>
                    <a:pt x="8911" y="1654"/>
                  </a:lnTo>
                  <a:lnTo>
                    <a:pt x="8650" y="1654"/>
                  </a:lnTo>
                  <a:lnTo>
                    <a:pt x="8596" y="1549"/>
                  </a:lnTo>
                  <a:close/>
                  <a:moveTo>
                    <a:pt x="8429" y="1127"/>
                  </a:moveTo>
                  <a:cubicBezTo>
                    <a:pt x="8284" y="1132"/>
                    <a:pt x="8217" y="1181"/>
                    <a:pt x="8217" y="1269"/>
                  </a:cubicBezTo>
                  <a:cubicBezTo>
                    <a:pt x="8217" y="1360"/>
                    <a:pt x="8279" y="1416"/>
                    <a:pt x="8394" y="1416"/>
                  </a:cubicBezTo>
                  <a:cubicBezTo>
                    <a:pt x="8482" y="1416"/>
                    <a:pt x="8545" y="1388"/>
                    <a:pt x="8575" y="1362"/>
                  </a:cubicBezTo>
                  <a:lnTo>
                    <a:pt x="8575" y="1122"/>
                  </a:lnTo>
                  <a:lnTo>
                    <a:pt x="8429" y="1127"/>
                  </a:lnTo>
                  <a:close/>
                  <a:moveTo>
                    <a:pt x="5105" y="1628"/>
                  </a:moveTo>
                  <a:lnTo>
                    <a:pt x="5105" y="2124"/>
                  </a:lnTo>
                  <a:lnTo>
                    <a:pt x="4769" y="2227"/>
                  </a:lnTo>
                  <a:lnTo>
                    <a:pt x="4769" y="477"/>
                  </a:lnTo>
                  <a:lnTo>
                    <a:pt x="5051" y="477"/>
                  </a:lnTo>
                  <a:lnTo>
                    <a:pt x="5089" y="584"/>
                  </a:lnTo>
                  <a:cubicBezTo>
                    <a:pt x="5175" y="517"/>
                    <a:pt x="5275" y="454"/>
                    <a:pt x="5406" y="454"/>
                  </a:cubicBezTo>
                  <a:cubicBezTo>
                    <a:pt x="5676" y="454"/>
                    <a:pt x="5888" y="659"/>
                    <a:pt x="5888" y="1031"/>
                  </a:cubicBezTo>
                  <a:cubicBezTo>
                    <a:pt x="5888" y="1381"/>
                    <a:pt x="5678" y="1677"/>
                    <a:pt x="5331" y="1677"/>
                  </a:cubicBezTo>
                  <a:cubicBezTo>
                    <a:pt x="5245" y="1677"/>
                    <a:pt x="5165" y="1660"/>
                    <a:pt x="5105" y="1628"/>
                  </a:cubicBezTo>
                  <a:close/>
                  <a:moveTo>
                    <a:pt x="5105" y="831"/>
                  </a:moveTo>
                  <a:lnTo>
                    <a:pt x="5105" y="1388"/>
                  </a:lnTo>
                  <a:cubicBezTo>
                    <a:pt x="5142" y="1414"/>
                    <a:pt x="5189" y="1435"/>
                    <a:pt x="5249" y="1435"/>
                  </a:cubicBezTo>
                  <a:cubicBezTo>
                    <a:pt x="5478" y="1435"/>
                    <a:pt x="5552" y="1227"/>
                    <a:pt x="5552" y="1027"/>
                  </a:cubicBezTo>
                  <a:cubicBezTo>
                    <a:pt x="5552" y="784"/>
                    <a:pt x="5473" y="698"/>
                    <a:pt x="5338" y="698"/>
                  </a:cubicBezTo>
                  <a:cubicBezTo>
                    <a:pt x="5249" y="698"/>
                    <a:pt x="5145" y="770"/>
                    <a:pt x="5105" y="831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8" name="Freeform 3">
              <a:extLst>
                <a:ext uri="{FF2B5EF4-FFF2-40B4-BE49-F238E27FC236}">
                  <a16:creationId xmlns:a16="http://schemas.microsoft.com/office/drawing/2014/main" id="{7BDCB8F7-EEB4-4AC3-96EA-8BA36E2C21B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02138" y="2125663"/>
              <a:ext cx="371475" cy="441325"/>
            </a:xfrm>
            <a:custGeom>
              <a:avLst/>
              <a:gdLst>
                <a:gd name="T0" fmla="*/ 336 w 1033"/>
                <a:gd name="T1" fmla="*/ 433 h 1228"/>
                <a:gd name="T2" fmla="*/ 336 w 1033"/>
                <a:gd name="T3" fmla="*/ 0 h 1228"/>
                <a:gd name="T4" fmla="*/ 0 w 1033"/>
                <a:gd name="T5" fmla="*/ 102 h 1228"/>
                <a:gd name="T6" fmla="*/ 0 w 1033"/>
                <a:gd name="T7" fmla="*/ 1227 h 1228"/>
                <a:gd name="T8" fmla="*/ 429 w 1033"/>
                <a:gd name="T9" fmla="*/ 1227 h 1228"/>
                <a:gd name="T10" fmla="*/ 1032 w 1033"/>
                <a:gd name="T11" fmla="*/ 820 h 1228"/>
                <a:gd name="T12" fmla="*/ 508 w 1033"/>
                <a:gd name="T13" fmla="*/ 433 h 1228"/>
                <a:gd name="T14" fmla="*/ 336 w 1033"/>
                <a:gd name="T15" fmla="*/ 433 h 1228"/>
                <a:gd name="T16" fmla="*/ 336 w 1033"/>
                <a:gd name="T17" fmla="*/ 666 h 1228"/>
                <a:gd name="T18" fmla="*/ 447 w 1033"/>
                <a:gd name="T19" fmla="*/ 666 h 1228"/>
                <a:gd name="T20" fmla="*/ 697 w 1033"/>
                <a:gd name="T21" fmla="*/ 824 h 1228"/>
                <a:gd name="T22" fmla="*/ 452 w 1033"/>
                <a:gd name="T23" fmla="*/ 994 h 1228"/>
                <a:gd name="T24" fmla="*/ 336 w 1033"/>
                <a:gd name="T25" fmla="*/ 994 h 1228"/>
                <a:gd name="T26" fmla="*/ 336 w 1033"/>
                <a:gd name="T27" fmla="*/ 666 h 1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33" h="1228">
                  <a:moveTo>
                    <a:pt x="336" y="433"/>
                  </a:moveTo>
                  <a:lnTo>
                    <a:pt x="336" y="0"/>
                  </a:lnTo>
                  <a:lnTo>
                    <a:pt x="0" y="102"/>
                  </a:lnTo>
                  <a:lnTo>
                    <a:pt x="0" y="1227"/>
                  </a:lnTo>
                  <a:lnTo>
                    <a:pt x="429" y="1227"/>
                  </a:lnTo>
                  <a:cubicBezTo>
                    <a:pt x="741" y="1227"/>
                    <a:pt x="1032" y="1144"/>
                    <a:pt x="1032" y="820"/>
                  </a:cubicBezTo>
                  <a:cubicBezTo>
                    <a:pt x="1032" y="545"/>
                    <a:pt x="797" y="433"/>
                    <a:pt x="508" y="433"/>
                  </a:cubicBezTo>
                  <a:lnTo>
                    <a:pt x="336" y="433"/>
                  </a:lnTo>
                  <a:close/>
                  <a:moveTo>
                    <a:pt x="336" y="666"/>
                  </a:moveTo>
                  <a:lnTo>
                    <a:pt x="447" y="666"/>
                  </a:lnTo>
                  <a:cubicBezTo>
                    <a:pt x="566" y="666"/>
                    <a:pt x="697" y="685"/>
                    <a:pt x="697" y="824"/>
                  </a:cubicBezTo>
                  <a:cubicBezTo>
                    <a:pt x="697" y="962"/>
                    <a:pt x="585" y="994"/>
                    <a:pt x="452" y="994"/>
                  </a:cubicBezTo>
                  <a:lnTo>
                    <a:pt x="336" y="994"/>
                  </a:lnTo>
                  <a:lnTo>
                    <a:pt x="336" y="666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9" name="Freeform 4">
              <a:extLst>
                <a:ext uri="{FF2B5EF4-FFF2-40B4-BE49-F238E27FC236}">
                  <a16:creationId xmlns:a16="http://schemas.microsoft.com/office/drawing/2014/main" id="{50A542B4-9C79-4641-8678-A9E409C716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18063" y="1420813"/>
              <a:ext cx="219075" cy="454025"/>
            </a:xfrm>
            <a:custGeom>
              <a:avLst/>
              <a:gdLst>
                <a:gd name="T0" fmla="*/ 389 w 609"/>
                <a:gd name="T1" fmla="*/ 1240 h 1262"/>
                <a:gd name="T2" fmla="*/ 450 w 609"/>
                <a:gd name="T3" fmla="*/ 1208 h 1262"/>
                <a:gd name="T4" fmla="*/ 534 w 609"/>
                <a:gd name="T5" fmla="*/ 944 h 1262"/>
                <a:gd name="T6" fmla="*/ 534 w 609"/>
                <a:gd name="T7" fmla="*/ 944 h 1262"/>
                <a:gd name="T8" fmla="*/ 598 w 609"/>
                <a:gd name="T9" fmla="*/ 594 h 1262"/>
                <a:gd name="T10" fmla="*/ 598 w 609"/>
                <a:gd name="T11" fmla="*/ 312 h 1262"/>
                <a:gd name="T12" fmla="*/ 515 w 609"/>
                <a:gd name="T13" fmla="*/ 85 h 1262"/>
                <a:gd name="T14" fmla="*/ 288 w 609"/>
                <a:gd name="T15" fmla="*/ 6 h 1262"/>
                <a:gd name="T16" fmla="*/ 5 w 609"/>
                <a:gd name="T17" fmla="*/ 12 h 1262"/>
                <a:gd name="T18" fmla="*/ 64 w 609"/>
                <a:gd name="T19" fmla="*/ 50 h 1262"/>
                <a:gd name="T20" fmla="*/ 151 w 609"/>
                <a:gd name="T21" fmla="*/ 257 h 1262"/>
                <a:gd name="T22" fmla="*/ 159 w 609"/>
                <a:gd name="T23" fmla="*/ 447 h 1262"/>
                <a:gd name="T24" fmla="*/ 100 w 609"/>
                <a:gd name="T25" fmla="*/ 832 h 1262"/>
                <a:gd name="T26" fmla="*/ 0 w 609"/>
                <a:gd name="T27" fmla="*/ 1125 h 1262"/>
                <a:gd name="T28" fmla="*/ 166 w 609"/>
                <a:gd name="T29" fmla="*/ 1211 h 1262"/>
                <a:gd name="T30" fmla="*/ 389 w 609"/>
                <a:gd name="T31" fmla="*/ 1240 h 1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9" h="1262">
                  <a:moveTo>
                    <a:pt x="389" y="1240"/>
                  </a:moveTo>
                  <a:cubicBezTo>
                    <a:pt x="410" y="1233"/>
                    <a:pt x="430" y="1222"/>
                    <a:pt x="450" y="1208"/>
                  </a:cubicBezTo>
                  <a:cubicBezTo>
                    <a:pt x="481" y="1129"/>
                    <a:pt x="509" y="1042"/>
                    <a:pt x="534" y="944"/>
                  </a:cubicBezTo>
                  <a:lnTo>
                    <a:pt x="534" y="944"/>
                  </a:lnTo>
                  <a:cubicBezTo>
                    <a:pt x="568" y="816"/>
                    <a:pt x="588" y="699"/>
                    <a:pt x="598" y="594"/>
                  </a:cubicBezTo>
                  <a:cubicBezTo>
                    <a:pt x="608" y="488"/>
                    <a:pt x="607" y="394"/>
                    <a:pt x="598" y="312"/>
                  </a:cubicBezTo>
                  <a:cubicBezTo>
                    <a:pt x="589" y="225"/>
                    <a:pt x="567" y="136"/>
                    <a:pt x="515" y="85"/>
                  </a:cubicBezTo>
                  <a:cubicBezTo>
                    <a:pt x="463" y="35"/>
                    <a:pt x="375" y="14"/>
                    <a:pt x="288" y="6"/>
                  </a:cubicBezTo>
                  <a:cubicBezTo>
                    <a:pt x="205" y="0"/>
                    <a:pt x="111" y="1"/>
                    <a:pt x="5" y="12"/>
                  </a:cubicBezTo>
                  <a:cubicBezTo>
                    <a:pt x="28" y="22"/>
                    <a:pt x="48" y="35"/>
                    <a:pt x="64" y="50"/>
                  </a:cubicBezTo>
                  <a:cubicBezTo>
                    <a:pt x="116" y="97"/>
                    <a:pt x="140" y="178"/>
                    <a:pt x="151" y="257"/>
                  </a:cubicBezTo>
                  <a:cubicBezTo>
                    <a:pt x="158" y="315"/>
                    <a:pt x="162" y="378"/>
                    <a:pt x="159" y="447"/>
                  </a:cubicBezTo>
                  <a:cubicBezTo>
                    <a:pt x="156" y="559"/>
                    <a:pt x="138" y="687"/>
                    <a:pt x="100" y="832"/>
                  </a:cubicBezTo>
                  <a:cubicBezTo>
                    <a:pt x="71" y="944"/>
                    <a:pt x="37" y="1041"/>
                    <a:pt x="0" y="1125"/>
                  </a:cubicBezTo>
                  <a:cubicBezTo>
                    <a:pt x="58" y="1161"/>
                    <a:pt x="113" y="1189"/>
                    <a:pt x="166" y="1211"/>
                  </a:cubicBezTo>
                  <a:cubicBezTo>
                    <a:pt x="240" y="1242"/>
                    <a:pt x="322" y="1261"/>
                    <a:pt x="389" y="1240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0" name="Freeform 5">
              <a:extLst>
                <a:ext uri="{FF2B5EF4-FFF2-40B4-BE49-F238E27FC236}">
                  <a16:creationId xmlns:a16="http://schemas.microsoft.com/office/drawing/2014/main" id="{B70D7613-6FB5-4585-813C-B0CABCD362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14850" y="1679575"/>
              <a:ext cx="454025" cy="355600"/>
            </a:xfrm>
            <a:custGeom>
              <a:avLst/>
              <a:gdLst>
                <a:gd name="T0" fmla="*/ 6 w 1262"/>
                <a:gd name="T1" fmla="*/ 279 h 986"/>
                <a:gd name="T2" fmla="*/ 3 w 1262"/>
                <a:gd name="T3" fmla="*/ 349 h 986"/>
                <a:gd name="T4" fmla="*/ 188 w 1262"/>
                <a:gd name="T5" fmla="*/ 552 h 986"/>
                <a:gd name="T6" fmla="*/ 461 w 1262"/>
                <a:gd name="T7" fmla="*/ 783 h 986"/>
                <a:gd name="T8" fmla="*/ 705 w 1262"/>
                <a:gd name="T9" fmla="*/ 924 h 986"/>
                <a:gd name="T10" fmla="*/ 942 w 1262"/>
                <a:gd name="T11" fmla="*/ 965 h 986"/>
                <a:gd name="T12" fmla="*/ 1125 w 1262"/>
                <a:gd name="T13" fmla="*/ 808 h 986"/>
                <a:gd name="T14" fmla="*/ 1261 w 1262"/>
                <a:gd name="T15" fmla="*/ 560 h 986"/>
                <a:gd name="T16" fmla="*/ 1198 w 1262"/>
                <a:gd name="T17" fmla="*/ 593 h 986"/>
                <a:gd name="T18" fmla="*/ 976 w 1262"/>
                <a:gd name="T19" fmla="*/ 564 h 986"/>
                <a:gd name="T20" fmla="*/ 806 w 1262"/>
                <a:gd name="T21" fmla="*/ 477 h 986"/>
                <a:gd name="T22" fmla="*/ 503 w 1262"/>
                <a:gd name="T23" fmla="*/ 233 h 986"/>
                <a:gd name="T24" fmla="*/ 503 w 1262"/>
                <a:gd name="T25" fmla="*/ 233 h 986"/>
                <a:gd name="T26" fmla="*/ 299 w 1262"/>
                <a:gd name="T27" fmla="*/ 0 h 986"/>
                <a:gd name="T28" fmla="*/ 142 w 1262"/>
                <a:gd name="T29" fmla="*/ 100 h 986"/>
                <a:gd name="T30" fmla="*/ 6 w 1262"/>
                <a:gd name="T31" fmla="*/ 279 h 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62" h="986">
                  <a:moveTo>
                    <a:pt x="6" y="279"/>
                  </a:moveTo>
                  <a:cubicBezTo>
                    <a:pt x="1" y="301"/>
                    <a:pt x="0" y="324"/>
                    <a:pt x="3" y="349"/>
                  </a:cubicBezTo>
                  <a:cubicBezTo>
                    <a:pt x="55" y="414"/>
                    <a:pt x="117" y="482"/>
                    <a:pt x="188" y="552"/>
                  </a:cubicBezTo>
                  <a:cubicBezTo>
                    <a:pt x="284" y="646"/>
                    <a:pt x="375" y="722"/>
                    <a:pt x="461" y="783"/>
                  </a:cubicBezTo>
                  <a:cubicBezTo>
                    <a:pt x="548" y="844"/>
                    <a:pt x="629" y="890"/>
                    <a:pt x="705" y="924"/>
                  </a:cubicBezTo>
                  <a:cubicBezTo>
                    <a:pt x="784" y="961"/>
                    <a:pt x="872" y="985"/>
                    <a:pt x="942" y="965"/>
                  </a:cubicBezTo>
                  <a:cubicBezTo>
                    <a:pt x="1012" y="946"/>
                    <a:pt x="1075" y="880"/>
                    <a:pt x="1125" y="808"/>
                  </a:cubicBezTo>
                  <a:cubicBezTo>
                    <a:pt x="1172" y="740"/>
                    <a:pt x="1218" y="658"/>
                    <a:pt x="1261" y="560"/>
                  </a:cubicBezTo>
                  <a:cubicBezTo>
                    <a:pt x="1241" y="575"/>
                    <a:pt x="1220" y="586"/>
                    <a:pt x="1198" y="593"/>
                  </a:cubicBezTo>
                  <a:cubicBezTo>
                    <a:pt x="1132" y="614"/>
                    <a:pt x="1049" y="595"/>
                    <a:pt x="976" y="564"/>
                  </a:cubicBezTo>
                  <a:cubicBezTo>
                    <a:pt x="922" y="542"/>
                    <a:pt x="865" y="513"/>
                    <a:pt x="806" y="477"/>
                  </a:cubicBezTo>
                  <a:cubicBezTo>
                    <a:pt x="711" y="418"/>
                    <a:pt x="610" y="338"/>
                    <a:pt x="503" y="233"/>
                  </a:cubicBezTo>
                  <a:lnTo>
                    <a:pt x="503" y="233"/>
                  </a:lnTo>
                  <a:cubicBezTo>
                    <a:pt x="420" y="152"/>
                    <a:pt x="354" y="74"/>
                    <a:pt x="299" y="0"/>
                  </a:cubicBezTo>
                  <a:cubicBezTo>
                    <a:pt x="239" y="32"/>
                    <a:pt x="187" y="66"/>
                    <a:pt x="142" y="100"/>
                  </a:cubicBezTo>
                  <a:cubicBezTo>
                    <a:pt x="79" y="149"/>
                    <a:pt x="21" y="211"/>
                    <a:pt x="6" y="279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1" name="Freeform 6">
              <a:extLst>
                <a:ext uri="{FF2B5EF4-FFF2-40B4-BE49-F238E27FC236}">
                  <a16:creationId xmlns:a16="http://schemas.microsoft.com/office/drawing/2014/main" id="{D26D812D-3A1D-4790-9819-7A643FEB0E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22775" y="1428750"/>
              <a:ext cx="423863" cy="354013"/>
            </a:xfrm>
            <a:custGeom>
              <a:avLst/>
              <a:gdLst>
                <a:gd name="T0" fmla="*/ 1081 w 1179"/>
                <a:gd name="T1" fmla="*/ 36 h 985"/>
                <a:gd name="T2" fmla="*/ 1025 w 1179"/>
                <a:gd name="T3" fmla="*/ 0 h 985"/>
                <a:gd name="T4" fmla="*/ 753 w 1179"/>
                <a:gd name="T5" fmla="*/ 59 h 985"/>
                <a:gd name="T6" fmla="*/ 419 w 1179"/>
                <a:gd name="T7" fmla="*/ 179 h 985"/>
                <a:gd name="T8" fmla="*/ 175 w 1179"/>
                <a:gd name="T9" fmla="*/ 319 h 985"/>
                <a:gd name="T10" fmla="*/ 19 w 1179"/>
                <a:gd name="T11" fmla="*/ 505 h 985"/>
                <a:gd name="T12" fmla="*/ 65 w 1179"/>
                <a:gd name="T13" fmla="*/ 744 h 985"/>
                <a:gd name="T14" fmla="*/ 210 w 1179"/>
                <a:gd name="T15" fmla="*/ 984 h 985"/>
                <a:gd name="T16" fmla="*/ 213 w 1179"/>
                <a:gd name="T17" fmla="*/ 914 h 985"/>
                <a:gd name="T18" fmla="*/ 350 w 1179"/>
                <a:gd name="T19" fmla="*/ 735 h 985"/>
                <a:gd name="T20" fmla="*/ 510 w 1179"/>
                <a:gd name="T21" fmla="*/ 632 h 985"/>
                <a:gd name="T22" fmla="*/ 873 w 1179"/>
                <a:gd name="T23" fmla="*/ 491 h 985"/>
                <a:gd name="T24" fmla="*/ 873 w 1179"/>
                <a:gd name="T25" fmla="*/ 491 h 985"/>
                <a:gd name="T26" fmla="*/ 1176 w 1179"/>
                <a:gd name="T27" fmla="*/ 432 h 985"/>
                <a:gd name="T28" fmla="*/ 1167 w 1179"/>
                <a:gd name="T29" fmla="*/ 244 h 985"/>
                <a:gd name="T30" fmla="*/ 1081 w 1179"/>
                <a:gd name="T31" fmla="*/ 3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79" h="985">
                  <a:moveTo>
                    <a:pt x="1081" y="36"/>
                  </a:moveTo>
                  <a:cubicBezTo>
                    <a:pt x="1065" y="22"/>
                    <a:pt x="1046" y="10"/>
                    <a:pt x="1025" y="0"/>
                  </a:cubicBezTo>
                  <a:cubicBezTo>
                    <a:pt x="941" y="13"/>
                    <a:pt x="851" y="32"/>
                    <a:pt x="753" y="59"/>
                  </a:cubicBezTo>
                  <a:cubicBezTo>
                    <a:pt x="625" y="95"/>
                    <a:pt x="514" y="135"/>
                    <a:pt x="419" y="179"/>
                  </a:cubicBezTo>
                  <a:cubicBezTo>
                    <a:pt x="322" y="223"/>
                    <a:pt x="242" y="270"/>
                    <a:pt x="175" y="319"/>
                  </a:cubicBezTo>
                  <a:cubicBezTo>
                    <a:pt x="103" y="370"/>
                    <a:pt x="37" y="435"/>
                    <a:pt x="19" y="505"/>
                  </a:cubicBezTo>
                  <a:cubicBezTo>
                    <a:pt x="0" y="576"/>
                    <a:pt x="27" y="664"/>
                    <a:pt x="65" y="744"/>
                  </a:cubicBezTo>
                  <a:cubicBezTo>
                    <a:pt x="100" y="819"/>
                    <a:pt x="148" y="899"/>
                    <a:pt x="210" y="984"/>
                  </a:cubicBezTo>
                  <a:cubicBezTo>
                    <a:pt x="208" y="960"/>
                    <a:pt x="208" y="936"/>
                    <a:pt x="213" y="914"/>
                  </a:cubicBezTo>
                  <a:cubicBezTo>
                    <a:pt x="228" y="845"/>
                    <a:pt x="286" y="784"/>
                    <a:pt x="350" y="735"/>
                  </a:cubicBezTo>
                  <a:cubicBezTo>
                    <a:pt x="395" y="700"/>
                    <a:pt x="449" y="665"/>
                    <a:pt x="510" y="632"/>
                  </a:cubicBezTo>
                  <a:cubicBezTo>
                    <a:pt x="609" y="580"/>
                    <a:pt x="728" y="531"/>
                    <a:pt x="873" y="491"/>
                  </a:cubicBezTo>
                  <a:lnTo>
                    <a:pt x="873" y="491"/>
                  </a:lnTo>
                  <a:cubicBezTo>
                    <a:pt x="984" y="460"/>
                    <a:pt x="1085" y="442"/>
                    <a:pt x="1176" y="432"/>
                  </a:cubicBezTo>
                  <a:cubicBezTo>
                    <a:pt x="1178" y="363"/>
                    <a:pt x="1175" y="301"/>
                    <a:pt x="1167" y="244"/>
                  </a:cubicBezTo>
                  <a:cubicBezTo>
                    <a:pt x="1157" y="164"/>
                    <a:pt x="1133" y="83"/>
                    <a:pt x="1081" y="36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42" name="Slide Number Placeholder 1">
            <a:extLst>
              <a:ext uri="{FF2B5EF4-FFF2-40B4-BE49-F238E27FC236}">
                <a16:creationId xmlns:a16="http://schemas.microsoft.com/office/drawing/2014/main" id="{73B51434-F717-435B-92FF-CBB3D43C15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9576" y="6455903"/>
            <a:ext cx="1214424" cy="23086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B9CAC58-44C9-4DC0-A6AF-0B4057C34224}" type="slidenum">
              <a:rPr kumimoji="0" lang="ru-RU" sz="105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ru-RU" sz="10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72F42B2B-5E11-4C94-9A21-AF898CF5623B}"/>
              </a:ext>
            </a:extLst>
          </p:cNvPr>
          <p:cNvSpPr txBox="1"/>
          <p:nvPr/>
        </p:nvSpPr>
        <p:spPr>
          <a:xfrm>
            <a:off x="417946" y="6494383"/>
            <a:ext cx="3404991" cy="15390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indent="0" defTabSz="883649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6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18056" indent="-275499" defTabSz="883649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04928" indent="-221279" defTabSz="883649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&gt;"/>
              <a:defRPr sz="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547485" indent="-221279" defTabSz="883649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990042" indent="-221279" defTabSz="883649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6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412083" indent="-221279" defTabSz="883649" fontAlgn="base">
              <a:spcBef>
                <a:spcPct val="20000"/>
              </a:spcBef>
              <a:spcAft>
                <a:spcPct val="0"/>
              </a:spcAft>
              <a:buChar char="•"/>
              <a:defRPr sz="1108">
                <a:solidFill>
                  <a:schemeClr val="bg2"/>
                </a:solidFill>
                <a:latin typeface="FS Severstal" pitchFamily="2" charset="0"/>
              </a:defRPr>
            </a:lvl6pPr>
            <a:lvl7pPr marL="2834125" indent="-221279" defTabSz="883649" fontAlgn="base">
              <a:spcBef>
                <a:spcPct val="20000"/>
              </a:spcBef>
              <a:spcAft>
                <a:spcPct val="0"/>
              </a:spcAft>
              <a:buChar char="•"/>
              <a:defRPr sz="1108">
                <a:solidFill>
                  <a:schemeClr val="bg2"/>
                </a:solidFill>
                <a:latin typeface="FS Severstal" pitchFamily="2" charset="0"/>
              </a:defRPr>
            </a:lvl7pPr>
            <a:lvl8pPr marL="3256166" indent="-221279" defTabSz="883649" fontAlgn="base">
              <a:spcBef>
                <a:spcPct val="20000"/>
              </a:spcBef>
              <a:spcAft>
                <a:spcPct val="0"/>
              </a:spcAft>
              <a:buChar char="•"/>
              <a:defRPr sz="1108">
                <a:solidFill>
                  <a:schemeClr val="bg2"/>
                </a:solidFill>
                <a:latin typeface="FS Severstal" pitchFamily="2" charset="0"/>
              </a:defRPr>
            </a:lvl8pPr>
            <a:lvl9pPr marL="3678207" indent="-221279" defTabSz="883649" fontAlgn="base">
              <a:spcBef>
                <a:spcPct val="20000"/>
              </a:spcBef>
              <a:spcAft>
                <a:spcPct val="0"/>
              </a:spcAft>
              <a:buChar char="•"/>
              <a:defRPr sz="1108">
                <a:solidFill>
                  <a:schemeClr val="bg2"/>
                </a:solidFill>
                <a:latin typeface="FS Severstal" pitchFamily="2" charset="0"/>
              </a:defRPr>
            </a:lvl9pPr>
          </a:lstStyle>
          <a:p>
            <a:pPr marL="0" marR="0" lvl="0" indent="0" algn="l" defTabSz="883649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alpha val="9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Любое несанкционированное копирование, раскрытие или распространение материалов, </a:t>
            </a:r>
            <a:br>
              <a:rPr kumimoji="0" 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alpha val="9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alpha val="9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одержащихся в данном документе (или приложениях к нему), строго запрещено.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265050" y="245188"/>
            <a:ext cx="815513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200" b="1" dirty="0">
                <a:solidFill>
                  <a:schemeClr val="bg1"/>
                </a:solidFill>
              </a:rPr>
              <a:t>Ключевые </a:t>
            </a:r>
            <a:r>
              <a:rPr lang="en-US" sz="3200" b="1" dirty="0">
                <a:solidFill>
                  <a:schemeClr val="bg1"/>
                </a:solidFill>
              </a:rPr>
              <a:t>KPI</a:t>
            </a:r>
            <a:r>
              <a:rPr lang="ru-RU" sz="3200" b="1" dirty="0">
                <a:solidFill>
                  <a:schemeClr val="bg1"/>
                </a:solidFill>
              </a:rPr>
              <a:t> спортивного движения</a:t>
            </a:r>
          </a:p>
        </p:txBody>
      </p:sp>
      <p:grpSp>
        <p:nvGrpSpPr>
          <p:cNvPr id="12" name="Группа 11"/>
          <p:cNvGrpSpPr/>
          <p:nvPr/>
        </p:nvGrpSpPr>
        <p:grpSpPr>
          <a:xfrm>
            <a:off x="2517578" y="1556656"/>
            <a:ext cx="1588974" cy="996566"/>
            <a:chOff x="2819429" y="2168860"/>
            <a:chExt cx="1588974" cy="996566"/>
          </a:xfrm>
        </p:grpSpPr>
        <p:sp>
          <p:nvSpPr>
            <p:cNvPr id="45" name="Прямоугольник 44"/>
            <p:cNvSpPr/>
            <p:nvPr/>
          </p:nvSpPr>
          <p:spPr>
            <a:xfrm>
              <a:off x="2819429" y="2180541"/>
              <a:ext cx="1588974" cy="98488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4000" b="1" dirty="0" smtClean="0">
                  <a:solidFill>
                    <a:schemeClr val="bg1"/>
                  </a:solidFill>
                </a:rPr>
                <a:t>10</a:t>
              </a:r>
              <a:r>
                <a:rPr lang="ru-RU" b="1" dirty="0">
                  <a:solidFill>
                    <a:schemeClr val="bg1"/>
                  </a:solidFill>
                </a:rPr>
                <a:t/>
              </a:r>
              <a:br>
                <a:rPr lang="ru-RU" b="1" dirty="0">
                  <a:solidFill>
                    <a:schemeClr val="bg1"/>
                  </a:solidFill>
                </a:rPr>
              </a:br>
              <a:r>
                <a:rPr lang="ru-RU" dirty="0" smtClean="0">
                  <a:solidFill>
                    <a:schemeClr val="bg1"/>
                  </a:solidFill>
                </a:rPr>
                <a:t>сотрудников</a:t>
              </a:r>
            </a:p>
          </p:txBody>
        </p:sp>
        <p:cxnSp>
          <p:nvCxnSpPr>
            <p:cNvPr id="11" name="Прямая соединительная линия 10"/>
            <p:cNvCxnSpPr/>
            <p:nvPr/>
          </p:nvCxnSpPr>
          <p:spPr bwMode="auto">
            <a:xfrm>
              <a:off x="3013274" y="2168860"/>
              <a:ext cx="1188000" cy="0"/>
            </a:xfrm>
            <a:prstGeom prst="line">
              <a:avLst/>
            </a:prstGeom>
            <a:solidFill>
              <a:schemeClr val="accent1"/>
            </a:solidFill>
            <a:ln w="285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46" name="Группа 45"/>
          <p:cNvGrpSpPr/>
          <p:nvPr/>
        </p:nvGrpSpPr>
        <p:grpSpPr>
          <a:xfrm>
            <a:off x="4670075" y="1556654"/>
            <a:ext cx="1505586" cy="984885"/>
            <a:chOff x="2847690" y="2168859"/>
            <a:chExt cx="1505586" cy="984885"/>
          </a:xfrm>
        </p:grpSpPr>
        <p:sp>
          <p:nvSpPr>
            <p:cNvPr id="47" name="Прямоугольник 46"/>
            <p:cNvSpPr/>
            <p:nvPr/>
          </p:nvSpPr>
          <p:spPr>
            <a:xfrm>
              <a:off x="2847690" y="2168859"/>
              <a:ext cx="1505586" cy="98488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4000" b="1" dirty="0" smtClean="0">
                  <a:solidFill>
                    <a:schemeClr val="bg1"/>
                  </a:solidFill>
                </a:rPr>
                <a:t>8700</a:t>
              </a:r>
              <a:r>
                <a:rPr lang="ru-RU" b="1" dirty="0">
                  <a:solidFill>
                    <a:schemeClr val="bg1"/>
                  </a:solidFill>
                </a:rPr>
                <a:t/>
              </a:r>
              <a:br>
                <a:rPr lang="ru-RU" b="1" dirty="0">
                  <a:solidFill>
                    <a:schemeClr val="bg1"/>
                  </a:solidFill>
                </a:rPr>
              </a:br>
              <a:r>
                <a:rPr lang="ru-RU" dirty="0" smtClean="0">
                  <a:solidFill>
                    <a:schemeClr val="bg1"/>
                  </a:solidFill>
                </a:rPr>
                <a:t>километров</a:t>
              </a:r>
            </a:p>
          </p:txBody>
        </p:sp>
        <p:cxnSp>
          <p:nvCxnSpPr>
            <p:cNvPr id="48" name="Прямая соединительная линия 47"/>
            <p:cNvCxnSpPr/>
            <p:nvPr/>
          </p:nvCxnSpPr>
          <p:spPr bwMode="auto">
            <a:xfrm>
              <a:off x="3013274" y="2168860"/>
              <a:ext cx="1188000" cy="0"/>
            </a:xfrm>
            <a:prstGeom prst="line">
              <a:avLst/>
            </a:prstGeom>
            <a:solidFill>
              <a:schemeClr val="accent1"/>
            </a:solidFill>
            <a:ln w="285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49" name="Группа 48"/>
          <p:cNvGrpSpPr/>
          <p:nvPr/>
        </p:nvGrpSpPr>
        <p:grpSpPr>
          <a:xfrm>
            <a:off x="2517578" y="3320852"/>
            <a:ext cx="1587351" cy="984885"/>
            <a:chOff x="2812787" y="2168859"/>
            <a:chExt cx="1587351" cy="984885"/>
          </a:xfrm>
        </p:grpSpPr>
        <p:sp>
          <p:nvSpPr>
            <p:cNvPr id="50" name="Прямоугольник 49"/>
            <p:cNvSpPr/>
            <p:nvPr/>
          </p:nvSpPr>
          <p:spPr>
            <a:xfrm>
              <a:off x="2812787" y="2168859"/>
              <a:ext cx="1587351" cy="98488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4000" b="1" dirty="0" smtClean="0">
                  <a:solidFill>
                    <a:schemeClr val="bg1"/>
                  </a:solidFill>
                </a:rPr>
                <a:t>300+</a:t>
              </a:r>
              <a:r>
                <a:rPr lang="ru-RU" b="1" dirty="0">
                  <a:solidFill>
                    <a:schemeClr val="bg1"/>
                  </a:solidFill>
                </a:rPr>
                <a:t/>
              </a:r>
              <a:br>
                <a:rPr lang="ru-RU" b="1" dirty="0">
                  <a:solidFill>
                    <a:schemeClr val="bg1"/>
                  </a:solidFill>
                </a:rPr>
              </a:br>
              <a:r>
                <a:rPr lang="ru-RU" dirty="0" smtClean="0">
                  <a:solidFill>
                    <a:schemeClr val="bg1"/>
                  </a:solidFill>
                </a:rPr>
                <a:t>сотрудников</a:t>
              </a:r>
            </a:p>
          </p:txBody>
        </p:sp>
        <p:cxnSp>
          <p:nvCxnSpPr>
            <p:cNvPr id="51" name="Прямая соединительная линия 50"/>
            <p:cNvCxnSpPr/>
            <p:nvPr/>
          </p:nvCxnSpPr>
          <p:spPr bwMode="auto">
            <a:xfrm>
              <a:off x="3013274" y="2168860"/>
              <a:ext cx="1188000" cy="0"/>
            </a:xfrm>
            <a:prstGeom prst="line">
              <a:avLst/>
            </a:prstGeom>
            <a:solidFill>
              <a:schemeClr val="accent1"/>
            </a:solidFill>
            <a:ln w="285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52" name="Группа 51"/>
          <p:cNvGrpSpPr/>
          <p:nvPr/>
        </p:nvGrpSpPr>
        <p:grpSpPr>
          <a:xfrm>
            <a:off x="4503518" y="3320852"/>
            <a:ext cx="1865566" cy="984885"/>
            <a:chOff x="2674491" y="2168859"/>
            <a:chExt cx="1865566" cy="984885"/>
          </a:xfrm>
        </p:grpSpPr>
        <p:sp>
          <p:nvSpPr>
            <p:cNvPr id="53" name="Прямоугольник 52"/>
            <p:cNvSpPr/>
            <p:nvPr/>
          </p:nvSpPr>
          <p:spPr>
            <a:xfrm>
              <a:off x="2674491" y="2168859"/>
              <a:ext cx="1865566" cy="98488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4000" b="1" dirty="0" smtClean="0">
                  <a:solidFill>
                    <a:schemeClr val="bg1"/>
                  </a:solidFill>
                </a:rPr>
                <a:t>120 </a:t>
              </a:r>
              <a:r>
                <a:rPr lang="ru-RU" sz="2000" b="1" dirty="0" smtClean="0">
                  <a:solidFill>
                    <a:schemeClr val="bg1"/>
                  </a:solidFill>
                </a:rPr>
                <a:t>тыс</a:t>
              </a:r>
              <a:r>
                <a:rPr lang="ru-RU" b="1" dirty="0">
                  <a:solidFill>
                    <a:schemeClr val="bg1"/>
                  </a:solidFill>
                </a:rPr>
                <a:t/>
              </a:r>
              <a:br>
                <a:rPr lang="ru-RU" b="1" dirty="0">
                  <a:solidFill>
                    <a:schemeClr val="bg1"/>
                  </a:solidFill>
                </a:rPr>
              </a:br>
              <a:r>
                <a:rPr lang="ru-RU" dirty="0" smtClean="0">
                  <a:solidFill>
                    <a:schemeClr val="bg1"/>
                  </a:solidFill>
                </a:rPr>
                <a:t>километров</a:t>
              </a:r>
            </a:p>
          </p:txBody>
        </p:sp>
        <p:cxnSp>
          <p:nvCxnSpPr>
            <p:cNvPr id="54" name="Прямая соединительная линия 53"/>
            <p:cNvCxnSpPr/>
            <p:nvPr/>
          </p:nvCxnSpPr>
          <p:spPr bwMode="auto">
            <a:xfrm>
              <a:off x="3013274" y="2168860"/>
              <a:ext cx="1188000" cy="0"/>
            </a:xfrm>
            <a:prstGeom prst="line">
              <a:avLst/>
            </a:prstGeom>
            <a:solidFill>
              <a:schemeClr val="accent1"/>
            </a:solidFill>
            <a:ln w="285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55" name="Группа 54"/>
          <p:cNvGrpSpPr/>
          <p:nvPr/>
        </p:nvGrpSpPr>
        <p:grpSpPr>
          <a:xfrm>
            <a:off x="6707867" y="3320852"/>
            <a:ext cx="1660720" cy="1261884"/>
            <a:chOff x="2790199" y="2168859"/>
            <a:chExt cx="1660720" cy="1261884"/>
          </a:xfrm>
        </p:grpSpPr>
        <p:sp>
          <p:nvSpPr>
            <p:cNvPr id="56" name="Прямоугольник 55"/>
            <p:cNvSpPr/>
            <p:nvPr/>
          </p:nvSpPr>
          <p:spPr>
            <a:xfrm>
              <a:off x="2790199" y="2168859"/>
              <a:ext cx="1660720" cy="126188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4000" b="1" dirty="0" smtClean="0">
                  <a:solidFill>
                    <a:schemeClr val="bg1"/>
                  </a:solidFill>
                </a:rPr>
                <a:t>5</a:t>
              </a:r>
              <a:r>
                <a:rPr lang="ru-RU" b="1" dirty="0">
                  <a:solidFill>
                    <a:schemeClr val="bg1"/>
                  </a:solidFill>
                </a:rPr>
                <a:t/>
              </a:r>
              <a:br>
                <a:rPr lang="ru-RU" b="1" dirty="0">
                  <a:solidFill>
                    <a:schemeClr val="bg1"/>
                  </a:solidFill>
                </a:rPr>
              </a:br>
              <a:r>
                <a:rPr lang="ru-RU" dirty="0">
                  <a:solidFill>
                    <a:schemeClr val="bg1"/>
                  </a:solidFill>
                </a:rPr>
                <a:t>собственных</a:t>
              </a:r>
              <a:r>
                <a:rPr lang="ru-RU" b="1" dirty="0" smtClean="0">
                  <a:solidFill>
                    <a:schemeClr val="bg1"/>
                  </a:solidFill>
                </a:rPr>
                <a:t> </a:t>
              </a:r>
              <a:r>
                <a:rPr lang="ru-RU" dirty="0" smtClean="0">
                  <a:solidFill>
                    <a:schemeClr val="bg1"/>
                  </a:solidFill>
                </a:rPr>
                <a:t>мероприятий</a:t>
              </a:r>
            </a:p>
          </p:txBody>
        </p:sp>
        <p:cxnSp>
          <p:nvCxnSpPr>
            <p:cNvPr id="57" name="Прямая соединительная линия 56"/>
            <p:cNvCxnSpPr/>
            <p:nvPr/>
          </p:nvCxnSpPr>
          <p:spPr bwMode="auto">
            <a:xfrm>
              <a:off x="3013274" y="2168860"/>
              <a:ext cx="1188000" cy="0"/>
            </a:xfrm>
            <a:prstGeom prst="line">
              <a:avLst/>
            </a:prstGeom>
            <a:solidFill>
              <a:schemeClr val="accent1"/>
            </a:solidFill>
            <a:ln w="285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35" name="Группа 34"/>
          <p:cNvGrpSpPr/>
          <p:nvPr/>
        </p:nvGrpSpPr>
        <p:grpSpPr>
          <a:xfrm>
            <a:off x="8756446" y="3320852"/>
            <a:ext cx="1798749" cy="1261884"/>
            <a:chOff x="2714542" y="2168859"/>
            <a:chExt cx="1798749" cy="1261884"/>
          </a:xfrm>
        </p:grpSpPr>
        <p:sp>
          <p:nvSpPr>
            <p:cNvPr id="44" name="Прямоугольник 43"/>
            <p:cNvSpPr/>
            <p:nvPr/>
          </p:nvSpPr>
          <p:spPr>
            <a:xfrm>
              <a:off x="2714542" y="2168859"/>
              <a:ext cx="1798749" cy="126188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4000" b="1" dirty="0">
                  <a:solidFill>
                    <a:schemeClr val="bg1"/>
                  </a:solidFill>
                </a:rPr>
                <a:t>3</a:t>
              </a:r>
              <a:r>
                <a:rPr lang="ru-RU" b="1" dirty="0">
                  <a:solidFill>
                    <a:schemeClr val="bg1"/>
                  </a:solidFill>
                </a:rPr>
                <a:t/>
              </a:r>
              <a:br>
                <a:rPr lang="ru-RU" b="1" dirty="0">
                  <a:solidFill>
                    <a:schemeClr val="bg1"/>
                  </a:solidFill>
                </a:rPr>
              </a:br>
              <a:r>
                <a:rPr lang="ru-RU" dirty="0" smtClean="0">
                  <a:solidFill>
                    <a:schemeClr val="bg1"/>
                  </a:solidFill>
                </a:rPr>
                <a:t>приглашенных спикера</a:t>
              </a:r>
              <a:endParaRPr lang="ru-RU" sz="2000" dirty="0" smtClean="0">
                <a:solidFill>
                  <a:schemeClr val="bg1"/>
                </a:solidFill>
              </a:endParaRPr>
            </a:p>
          </p:txBody>
        </p:sp>
        <p:cxnSp>
          <p:nvCxnSpPr>
            <p:cNvPr id="58" name="Прямая соединительная линия 57"/>
            <p:cNvCxnSpPr/>
            <p:nvPr/>
          </p:nvCxnSpPr>
          <p:spPr bwMode="auto">
            <a:xfrm>
              <a:off x="3013274" y="2168860"/>
              <a:ext cx="1188000" cy="0"/>
            </a:xfrm>
            <a:prstGeom prst="line">
              <a:avLst/>
            </a:prstGeom>
            <a:solidFill>
              <a:schemeClr val="accent1"/>
            </a:solidFill>
            <a:ln w="285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59" name="Овал 58">
            <a:extLst>
              <a:ext uri="{FF2B5EF4-FFF2-40B4-BE49-F238E27FC236}">
                <a16:creationId xmlns:a16="http://schemas.microsoft.com/office/drawing/2014/main" id="{E10F7520-E99E-434A-9E53-128B06785FE1}"/>
              </a:ext>
            </a:extLst>
          </p:cNvPr>
          <p:cNvSpPr>
            <a:spLocks noChangeAspect="1"/>
          </p:cNvSpPr>
          <p:nvPr/>
        </p:nvSpPr>
        <p:spPr>
          <a:xfrm>
            <a:off x="480964" y="4953808"/>
            <a:ext cx="1224000" cy="1224000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  <a:effectLst>
            <a:outerShdw blurRad="177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20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60" name="Группа 59"/>
          <p:cNvGrpSpPr/>
          <p:nvPr/>
        </p:nvGrpSpPr>
        <p:grpSpPr>
          <a:xfrm>
            <a:off x="2517578" y="5085050"/>
            <a:ext cx="1587351" cy="984885"/>
            <a:chOff x="2812787" y="2168859"/>
            <a:chExt cx="1587351" cy="984885"/>
          </a:xfrm>
        </p:grpSpPr>
        <p:sp>
          <p:nvSpPr>
            <p:cNvPr id="61" name="Прямоугольник 60"/>
            <p:cNvSpPr/>
            <p:nvPr/>
          </p:nvSpPr>
          <p:spPr>
            <a:xfrm>
              <a:off x="2812787" y="2168859"/>
              <a:ext cx="1587351" cy="98488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4000" b="1" dirty="0" smtClean="0">
                  <a:solidFill>
                    <a:schemeClr val="bg1"/>
                  </a:solidFill>
                </a:rPr>
                <a:t>500+</a:t>
              </a:r>
              <a:r>
                <a:rPr lang="ru-RU" b="1" dirty="0">
                  <a:solidFill>
                    <a:schemeClr val="bg1"/>
                  </a:solidFill>
                </a:rPr>
                <a:t/>
              </a:r>
              <a:br>
                <a:rPr lang="ru-RU" b="1" dirty="0">
                  <a:solidFill>
                    <a:schemeClr val="bg1"/>
                  </a:solidFill>
                </a:rPr>
              </a:br>
              <a:r>
                <a:rPr lang="ru-RU" dirty="0" smtClean="0">
                  <a:solidFill>
                    <a:schemeClr val="bg1"/>
                  </a:solidFill>
                </a:rPr>
                <a:t>сотрудников</a:t>
              </a:r>
            </a:p>
          </p:txBody>
        </p:sp>
        <p:cxnSp>
          <p:nvCxnSpPr>
            <p:cNvPr id="62" name="Прямая соединительная линия 61"/>
            <p:cNvCxnSpPr/>
            <p:nvPr/>
          </p:nvCxnSpPr>
          <p:spPr bwMode="auto">
            <a:xfrm>
              <a:off x="3013274" y="2168860"/>
              <a:ext cx="1188000" cy="0"/>
            </a:xfrm>
            <a:prstGeom prst="line">
              <a:avLst/>
            </a:prstGeom>
            <a:solidFill>
              <a:schemeClr val="accent1"/>
            </a:solidFill>
            <a:ln w="285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63" name="Группа 62"/>
          <p:cNvGrpSpPr/>
          <p:nvPr/>
        </p:nvGrpSpPr>
        <p:grpSpPr>
          <a:xfrm>
            <a:off x="4458949" y="5085050"/>
            <a:ext cx="1954704" cy="984885"/>
            <a:chOff x="2629922" y="2168859"/>
            <a:chExt cx="1954704" cy="984885"/>
          </a:xfrm>
        </p:grpSpPr>
        <p:sp>
          <p:nvSpPr>
            <p:cNvPr id="64" name="Прямоугольник 63"/>
            <p:cNvSpPr/>
            <p:nvPr/>
          </p:nvSpPr>
          <p:spPr>
            <a:xfrm>
              <a:off x="2629922" y="2168859"/>
              <a:ext cx="1954704" cy="98488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4000" b="1" dirty="0" smtClean="0">
                  <a:solidFill>
                    <a:schemeClr val="bg1"/>
                  </a:solidFill>
                </a:rPr>
                <a:t>150+ </a:t>
              </a:r>
              <a:r>
                <a:rPr lang="ru-RU" sz="2000" b="1" dirty="0" smtClean="0">
                  <a:solidFill>
                    <a:schemeClr val="bg1"/>
                  </a:solidFill>
                </a:rPr>
                <a:t>тыс</a:t>
              </a:r>
              <a:r>
                <a:rPr lang="ru-RU" b="1" dirty="0">
                  <a:solidFill>
                    <a:schemeClr val="bg1"/>
                  </a:solidFill>
                </a:rPr>
                <a:t/>
              </a:r>
              <a:br>
                <a:rPr lang="ru-RU" b="1" dirty="0">
                  <a:solidFill>
                    <a:schemeClr val="bg1"/>
                  </a:solidFill>
                </a:rPr>
              </a:br>
              <a:r>
                <a:rPr lang="ru-RU" dirty="0" smtClean="0">
                  <a:solidFill>
                    <a:schemeClr val="bg1"/>
                  </a:solidFill>
                </a:rPr>
                <a:t>километров</a:t>
              </a:r>
            </a:p>
          </p:txBody>
        </p:sp>
        <p:cxnSp>
          <p:nvCxnSpPr>
            <p:cNvPr id="65" name="Прямая соединительная линия 64"/>
            <p:cNvCxnSpPr/>
            <p:nvPr/>
          </p:nvCxnSpPr>
          <p:spPr bwMode="auto">
            <a:xfrm>
              <a:off x="3013274" y="2168860"/>
              <a:ext cx="1188000" cy="0"/>
            </a:xfrm>
            <a:prstGeom prst="line">
              <a:avLst/>
            </a:prstGeom>
            <a:solidFill>
              <a:schemeClr val="accent1"/>
            </a:solidFill>
            <a:ln w="285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66" name="Группа 65"/>
          <p:cNvGrpSpPr/>
          <p:nvPr/>
        </p:nvGrpSpPr>
        <p:grpSpPr>
          <a:xfrm>
            <a:off x="6707867" y="5085050"/>
            <a:ext cx="1660720" cy="1261884"/>
            <a:chOff x="2790199" y="2168859"/>
            <a:chExt cx="1660720" cy="1261884"/>
          </a:xfrm>
        </p:grpSpPr>
        <p:sp>
          <p:nvSpPr>
            <p:cNvPr id="67" name="Прямоугольник 66"/>
            <p:cNvSpPr/>
            <p:nvPr/>
          </p:nvSpPr>
          <p:spPr>
            <a:xfrm>
              <a:off x="2790199" y="2168859"/>
              <a:ext cx="1660720" cy="126188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4000" b="1" dirty="0">
                  <a:solidFill>
                    <a:schemeClr val="bg1"/>
                  </a:solidFill>
                </a:rPr>
                <a:t>3</a:t>
              </a:r>
              <a:r>
                <a:rPr lang="ru-RU" sz="4000" b="1" dirty="0" smtClean="0">
                  <a:solidFill>
                    <a:schemeClr val="bg1"/>
                  </a:solidFill>
                </a:rPr>
                <a:t>+</a:t>
              </a:r>
              <a:r>
                <a:rPr lang="ru-RU" b="1" dirty="0">
                  <a:solidFill>
                    <a:schemeClr val="bg1"/>
                  </a:solidFill>
                </a:rPr>
                <a:t/>
              </a:r>
              <a:br>
                <a:rPr lang="ru-RU" b="1" dirty="0">
                  <a:solidFill>
                    <a:schemeClr val="bg1"/>
                  </a:solidFill>
                </a:rPr>
              </a:br>
              <a:r>
                <a:rPr lang="ru-RU" dirty="0">
                  <a:solidFill>
                    <a:schemeClr val="bg1"/>
                  </a:solidFill>
                </a:rPr>
                <a:t>собственных</a:t>
              </a:r>
              <a:r>
                <a:rPr lang="ru-RU" b="1" dirty="0" smtClean="0">
                  <a:solidFill>
                    <a:schemeClr val="bg1"/>
                  </a:solidFill>
                </a:rPr>
                <a:t> </a:t>
              </a:r>
              <a:r>
                <a:rPr lang="ru-RU" dirty="0" smtClean="0">
                  <a:solidFill>
                    <a:schemeClr val="bg1"/>
                  </a:solidFill>
                </a:rPr>
                <a:t>мероприятий</a:t>
              </a:r>
            </a:p>
          </p:txBody>
        </p:sp>
        <p:cxnSp>
          <p:nvCxnSpPr>
            <p:cNvPr id="68" name="Прямая соединительная линия 67"/>
            <p:cNvCxnSpPr/>
            <p:nvPr/>
          </p:nvCxnSpPr>
          <p:spPr bwMode="auto">
            <a:xfrm>
              <a:off x="3013274" y="2168860"/>
              <a:ext cx="1188000" cy="0"/>
            </a:xfrm>
            <a:prstGeom prst="line">
              <a:avLst/>
            </a:prstGeom>
            <a:solidFill>
              <a:schemeClr val="accent1"/>
            </a:solidFill>
            <a:ln w="285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5715061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27088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9" name="Слайд think-cell" r:id="rId5" imgW="395" imgH="396" progId="TCLayout.ActiveDocument.1">
                  <p:embed/>
                </p:oleObj>
              </mc:Choice>
              <mc:Fallback>
                <p:oleObj name="Слайд think-cell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" name="Прямоугольник 5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>
            <a:gsLst>
              <a:gs pos="0">
                <a:schemeClr val="accent2"/>
              </a:gs>
              <a:gs pos="100000">
                <a:schemeClr val="accent2">
                  <a:lumMod val="75000"/>
                </a:scheme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95350"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</a:pPr>
            <a:endParaRPr lang="ru-RU" sz="2000" b="1" dirty="0" err="1" smtClean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48" name="Рисунок 47"/>
          <p:cNvPicPr>
            <a:picLocks noChangeAspect="1"/>
          </p:cNvPicPr>
          <p:nvPr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76520" y="855930"/>
            <a:ext cx="1309792" cy="1332517"/>
          </a:xfrm>
          <a:prstGeom prst="rect">
            <a:avLst/>
          </a:prstGeom>
        </p:spPr>
      </p:pic>
      <p:sp>
        <p:nvSpPr>
          <p:cNvPr id="21" name="Овал 20">
            <a:extLst>
              <a:ext uri="{FF2B5EF4-FFF2-40B4-BE49-F238E27FC236}">
                <a16:creationId xmlns:a16="http://schemas.microsoft.com/office/drawing/2014/main" id="{7289EBC1-B8E0-D74E-BDBE-A2D59AB026CB}"/>
              </a:ext>
            </a:extLst>
          </p:cNvPr>
          <p:cNvSpPr>
            <a:spLocks noChangeAspect="1"/>
          </p:cNvSpPr>
          <p:nvPr/>
        </p:nvSpPr>
        <p:spPr>
          <a:xfrm rot="8706225">
            <a:off x="6976894" y="1215028"/>
            <a:ext cx="4932003" cy="4932000"/>
          </a:xfrm>
          <a:prstGeom prst="ellipse">
            <a:avLst/>
          </a:prstGeom>
          <a:noFill/>
          <a:ln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00000">
                  <a:schemeClr val="accent4">
                    <a:alpha val="70000"/>
                  </a:schemeClr>
                </a:gs>
              </a:gsLst>
              <a:lin ang="0" scaled="1"/>
              <a:tileRect/>
            </a:gra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ru-RU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B9CAC58-44C9-4DC0-A6AF-0B4057C34224}" type="slidenum">
              <a:rPr lang="ru-RU" smtClean="0"/>
              <a:pPr/>
              <a:t>5</a:t>
            </a:fld>
            <a:endParaRPr lang="ru-RU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Цели и дальнейшие шаги на 2020 год</a:t>
            </a:r>
            <a:endParaRPr lang="ru-RU" dirty="0"/>
          </a:p>
        </p:txBody>
      </p:sp>
      <p:sp>
        <p:nvSpPr>
          <p:cNvPr id="4" name="Прямоугольник 36">
            <a:extLst>
              <a:ext uri="{FF2B5EF4-FFF2-40B4-BE49-F238E27FC236}">
                <a16:creationId xmlns:a16="http://schemas.microsoft.com/office/drawing/2014/main" id="{04824339-E696-5442-AF6A-C18ACEF9A9A3}"/>
              </a:ext>
            </a:extLst>
          </p:cNvPr>
          <p:cNvSpPr/>
          <p:nvPr/>
        </p:nvSpPr>
        <p:spPr>
          <a:xfrm>
            <a:off x="412044" y="1052736"/>
            <a:ext cx="5575944" cy="5112568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3">
                <a:lumMod val="60000"/>
                <a:lumOff val="40000"/>
                <a:alpha val="99000"/>
              </a:schemeClr>
            </a:solidFill>
          </a:ln>
          <a:effectLst>
            <a:outerShdw blurRad="127000" dist="127000" dir="2700000" algn="tl" rotWithShape="0">
              <a:prstClr val="black">
                <a:alpha val="5000"/>
              </a:prstClr>
            </a:outerShdw>
          </a:effectLst>
        </p:spPr>
        <p:txBody>
          <a:bodyPr rot="0" spcFirstLastPara="0" vertOverflow="overflow" horzOverflow="overflow" vert="horz" wrap="none" lIns="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ru-RU" dirty="0">
              <a:latin typeface="+mj-lt"/>
            </a:endParaRPr>
          </a:p>
        </p:txBody>
      </p:sp>
      <p:sp>
        <p:nvSpPr>
          <p:cNvPr id="17" name="Полилиния: фигура 17">
            <a:extLst>
              <a:ext uri="{FF2B5EF4-FFF2-40B4-BE49-F238E27FC236}">
                <a16:creationId xmlns:a16="http://schemas.microsoft.com/office/drawing/2014/main" id="{37B20B97-EAF6-4431-8702-820103B5FE0E}"/>
              </a:ext>
            </a:extLst>
          </p:cNvPr>
          <p:cNvSpPr>
            <a:spLocks noChangeAspect="1"/>
          </p:cNvSpPr>
          <p:nvPr/>
        </p:nvSpPr>
        <p:spPr>
          <a:xfrm>
            <a:off x="1630225" y="1051967"/>
            <a:ext cx="4369245" cy="3421149"/>
          </a:xfrm>
          <a:custGeom>
            <a:avLst/>
            <a:gdLst>
              <a:gd name="connsiteX0" fmla="*/ 2855754 w 8655570"/>
              <a:gd name="connsiteY0" fmla="*/ 3169131 h 6858000"/>
              <a:gd name="connsiteX1" fmla="*/ 3927222 w 8655570"/>
              <a:gd name="connsiteY1" fmla="*/ 4404296 h 6858000"/>
              <a:gd name="connsiteX2" fmla="*/ 5534425 w 8655570"/>
              <a:gd name="connsiteY2" fmla="*/ 5684107 h 6858000"/>
              <a:gd name="connsiteX3" fmla="*/ 6427317 w 8655570"/>
              <a:gd name="connsiteY3" fmla="*/ 6145433 h 6858000"/>
              <a:gd name="connsiteX4" fmla="*/ 7602957 w 8655570"/>
              <a:gd name="connsiteY4" fmla="*/ 6294249 h 6858000"/>
              <a:gd name="connsiteX5" fmla="*/ 7930350 w 8655570"/>
              <a:gd name="connsiteY5" fmla="*/ 6115670 h 6858000"/>
              <a:gd name="connsiteX6" fmla="*/ 7584355 w 8655570"/>
              <a:gd name="connsiteY6" fmla="*/ 6831844 h 6858000"/>
              <a:gd name="connsiteX7" fmla="*/ 7569591 w 8655570"/>
              <a:gd name="connsiteY7" fmla="*/ 6858000 h 6858000"/>
              <a:gd name="connsiteX8" fmla="*/ 3135252 w 8655570"/>
              <a:gd name="connsiteY8" fmla="*/ 6858000 h 6858000"/>
              <a:gd name="connsiteX9" fmla="*/ 3013869 w 8655570"/>
              <a:gd name="connsiteY9" fmla="*/ 6757436 h 6858000"/>
              <a:gd name="connsiteX10" fmla="*/ 2275373 w 8655570"/>
              <a:gd name="connsiteY10" fmla="*/ 6085907 h 6858000"/>
              <a:gd name="connsiteX11" fmla="*/ 1293193 w 8655570"/>
              <a:gd name="connsiteY11" fmla="*/ 5014439 h 6858000"/>
              <a:gd name="connsiteX12" fmla="*/ 1308075 w 8655570"/>
              <a:gd name="connsiteY12" fmla="*/ 4642401 h 6858000"/>
              <a:gd name="connsiteX13" fmla="*/ 2022388 w 8655570"/>
              <a:gd name="connsiteY13" fmla="*/ 3704865 h 6858000"/>
              <a:gd name="connsiteX14" fmla="*/ 2855754 w 8655570"/>
              <a:gd name="connsiteY14" fmla="*/ 3169131 h 6858000"/>
              <a:gd name="connsiteX15" fmla="*/ 6308546 w 8655570"/>
              <a:gd name="connsiteY15" fmla="*/ 0 h 6858000"/>
              <a:gd name="connsiteX16" fmla="*/ 8572039 w 8655570"/>
              <a:gd name="connsiteY16" fmla="*/ 0 h 6858000"/>
              <a:gd name="connsiteX17" fmla="*/ 8619085 w 8655570"/>
              <a:gd name="connsiteY17" fmla="*/ 69822 h 6858000"/>
              <a:gd name="connsiteX18" fmla="*/ 8655570 w 8655570"/>
              <a:gd name="connsiteY18" fmla="*/ 141074 h 6858000"/>
              <a:gd name="connsiteX19" fmla="*/ 8655570 w 8655570"/>
              <a:gd name="connsiteY19" fmla="*/ 3882235 h 6858000"/>
              <a:gd name="connsiteX20" fmla="*/ 8540492 w 8655570"/>
              <a:gd name="connsiteY20" fmla="*/ 4359653 h 6858000"/>
              <a:gd name="connsiteX21" fmla="*/ 8094047 w 8655570"/>
              <a:gd name="connsiteY21" fmla="*/ 5743633 h 6858000"/>
              <a:gd name="connsiteX22" fmla="*/ 7766653 w 8655570"/>
              <a:gd name="connsiteY22" fmla="*/ 5907330 h 6858000"/>
              <a:gd name="connsiteX23" fmla="*/ 6591013 w 8655570"/>
              <a:gd name="connsiteY23" fmla="*/ 5758515 h 6858000"/>
              <a:gd name="connsiteX24" fmla="*/ 5713004 w 8655570"/>
              <a:gd name="connsiteY24" fmla="*/ 5312070 h 6858000"/>
              <a:gd name="connsiteX25" fmla="*/ 6248739 w 8655570"/>
              <a:gd name="connsiteY25" fmla="*/ 3764392 h 6858000"/>
              <a:gd name="connsiteX26" fmla="*/ 6561250 w 8655570"/>
              <a:gd name="connsiteY26" fmla="*/ 1740506 h 6858000"/>
              <a:gd name="connsiteX27" fmla="*/ 6516606 w 8655570"/>
              <a:gd name="connsiteY27" fmla="*/ 743444 h 6858000"/>
              <a:gd name="connsiteX28" fmla="*/ 6364071 w 8655570"/>
              <a:gd name="connsiteY28" fmla="*/ 125860 h 6858000"/>
              <a:gd name="connsiteX29" fmla="*/ 3226616 w 8655570"/>
              <a:gd name="connsiteY29" fmla="*/ 0 h 6858000"/>
              <a:gd name="connsiteX30" fmla="*/ 5868673 w 8655570"/>
              <a:gd name="connsiteY30" fmla="*/ 0 h 6858000"/>
              <a:gd name="connsiteX31" fmla="*/ 5878242 w 8655570"/>
              <a:gd name="connsiteY31" fmla="*/ 17010 h 6858000"/>
              <a:gd name="connsiteX32" fmla="*/ 6085042 w 8655570"/>
              <a:gd name="connsiteY32" fmla="*/ 758325 h 6858000"/>
              <a:gd name="connsiteX33" fmla="*/ 6129687 w 8655570"/>
              <a:gd name="connsiteY33" fmla="*/ 1755386 h 6858000"/>
              <a:gd name="connsiteX34" fmla="*/ 4537365 w 8655570"/>
              <a:gd name="connsiteY34" fmla="*/ 2082780 h 6858000"/>
              <a:gd name="connsiteX35" fmla="*/ 2617649 w 8655570"/>
              <a:gd name="connsiteY35" fmla="*/ 2826855 h 6858000"/>
              <a:gd name="connsiteX36" fmla="*/ 1769403 w 8655570"/>
              <a:gd name="connsiteY36" fmla="*/ 3362590 h 6858000"/>
              <a:gd name="connsiteX37" fmla="*/ 1055090 w 8655570"/>
              <a:gd name="connsiteY37" fmla="*/ 4300125 h 6858000"/>
              <a:gd name="connsiteX38" fmla="*/ 1040208 w 8655570"/>
              <a:gd name="connsiteY38" fmla="*/ 4672163 h 6858000"/>
              <a:gd name="connsiteX39" fmla="*/ 266370 w 8655570"/>
              <a:gd name="connsiteY39" fmla="*/ 3407235 h 6858000"/>
              <a:gd name="connsiteX40" fmla="*/ 28265 w 8655570"/>
              <a:gd name="connsiteY40" fmla="*/ 2142306 h 6858000"/>
              <a:gd name="connsiteX41" fmla="*/ 846749 w 8655570"/>
              <a:gd name="connsiteY41" fmla="*/ 1160126 h 6858000"/>
              <a:gd name="connsiteX42" fmla="*/ 2141441 w 8655570"/>
              <a:gd name="connsiteY42" fmla="*/ 416050 h 6858000"/>
              <a:gd name="connsiteX43" fmla="*/ 2956204 w 8655570"/>
              <a:gd name="connsiteY43" fmla="*/ 9237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8655570" h="6858000">
                <a:moveTo>
                  <a:pt x="2855754" y="3169131"/>
                </a:moveTo>
                <a:cubicBezTo>
                  <a:pt x="3138501" y="3570931"/>
                  <a:pt x="3495658" y="3972732"/>
                  <a:pt x="3927222" y="4404296"/>
                </a:cubicBezTo>
                <a:cubicBezTo>
                  <a:pt x="4492719" y="4954912"/>
                  <a:pt x="5028454" y="5371595"/>
                  <a:pt x="5534425" y="5684107"/>
                </a:cubicBezTo>
                <a:cubicBezTo>
                  <a:pt x="5846938" y="5877566"/>
                  <a:pt x="6144568" y="6026381"/>
                  <a:pt x="6427317" y="6145433"/>
                </a:cubicBezTo>
                <a:cubicBezTo>
                  <a:pt x="6814237" y="6309130"/>
                  <a:pt x="7245801" y="6413301"/>
                  <a:pt x="7602957" y="6294249"/>
                </a:cubicBezTo>
                <a:cubicBezTo>
                  <a:pt x="7707127" y="6249604"/>
                  <a:pt x="7826179" y="6190078"/>
                  <a:pt x="7930350" y="6115670"/>
                </a:cubicBezTo>
                <a:cubicBezTo>
                  <a:pt x="7818739" y="6376097"/>
                  <a:pt x="7703407" y="6614201"/>
                  <a:pt x="7584355" y="6831844"/>
                </a:cubicBezTo>
                <a:lnTo>
                  <a:pt x="7569591" y="6858000"/>
                </a:lnTo>
                <a:lnTo>
                  <a:pt x="3135252" y="6858000"/>
                </a:lnTo>
                <a:lnTo>
                  <a:pt x="3013869" y="6757436"/>
                </a:lnTo>
                <a:cubicBezTo>
                  <a:pt x="2773905" y="6554676"/>
                  <a:pt x="2528360" y="6331453"/>
                  <a:pt x="2275373" y="6085907"/>
                </a:cubicBezTo>
                <a:cubicBezTo>
                  <a:pt x="1888454" y="5713869"/>
                  <a:pt x="1575942" y="5356713"/>
                  <a:pt x="1293193" y="5014439"/>
                </a:cubicBezTo>
                <a:cubicBezTo>
                  <a:pt x="1278312" y="4880505"/>
                  <a:pt x="1278312" y="4761453"/>
                  <a:pt x="1308075" y="4642401"/>
                </a:cubicBezTo>
                <a:cubicBezTo>
                  <a:pt x="1397364" y="4270363"/>
                  <a:pt x="1694994" y="3957851"/>
                  <a:pt x="2022388" y="3704865"/>
                </a:cubicBezTo>
                <a:cubicBezTo>
                  <a:pt x="2260492" y="3511405"/>
                  <a:pt x="2543242" y="3332827"/>
                  <a:pt x="2855754" y="3169131"/>
                </a:cubicBezTo>
                <a:close/>
                <a:moveTo>
                  <a:pt x="6308546" y="0"/>
                </a:moveTo>
                <a:lnTo>
                  <a:pt x="8572039" y="0"/>
                </a:lnTo>
                <a:lnTo>
                  <a:pt x="8619085" y="69822"/>
                </a:lnTo>
                <a:lnTo>
                  <a:pt x="8655570" y="141074"/>
                </a:lnTo>
                <a:lnTo>
                  <a:pt x="8655570" y="3882235"/>
                </a:lnTo>
                <a:lnTo>
                  <a:pt x="8540492" y="4359653"/>
                </a:lnTo>
                <a:cubicBezTo>
                  <a:pt x="8406558" y="4865624"/>
                  <a:pt x="8257743" y="5326951"/>
                  <a:pt x="8094047" y="5743633"/>
                </a:cubicBezTo>
                <a:cubicBezTo>
                  <a:pt x="7989876" y="5818041"/>
                  <a:pt x="7870824" y="5877567"/>
                  <a:pt x="7766653" y="5907330"/>
                </a:cubicBezTo>
                <a:cubicBezTo>
                  <a:pt x="7409497" y="6011501"/>
                  <a:pt x="6977933" y="5907330"/>
                  <a:pt x="6591013" y="5758515"/>
                </a:cubicBezTo>
                <a:cubicBezTo>
                  <a:pt x="6308265" y="5654344"/>
                  <a:pt x="6025516" y="5505529"/>
                  <a:pt x="5713004" y="5312070"/>
                </a:cubicBezTo>
                <a:cubicBezTo>
                  <a:pt x="5921345" y="4865624"/>
                  <a:pt x="6099924" y="4359653"/>
                  <a:pt x="6248739" y="3764392"/>
                </a:cubicBezTo>
                <a:cubicBezTo>
                  <a:pt x="6442198" y="3005435"/>
                  <a:pt x="6546369" y="2335766"/>
                  <a:pt x="6561250" y="1740506"/>
                </a:cubicBezTo>
                <a:cubicBezTo>
                  <a:pt x="6576132" y="1383349"/>
                  <a:pt x="6561250" y="1041075"/>
                  <a:pt x="6516606" y="743444"/>
                </a:cubicBezTo>
                <a:cubicBezTo>
                  <a:pt x="6486843" y="527662"/>
                  <a:pt x="6438478" y="315600"/>
                  <a:pt x="6364071" y="125860"/>
                </a:cubicBezTo>
                <a:close/>
                <a:moveTo>
                  <a:pt x="3226616" y="0"/>
                </a:moveTo>
                <a:lnTo>
                  <a:pt x="5868673" y="0"/>
                </a:lnTo>
                <a:lnTo>
                  <a:pt x="5878242" y="17010"/>
                </a:lnTo>
                <a:cubicBezTo>
                  <a:pt x="5987382" y="237472"/>
                  <a:pt x="6047839" y="497898"/>
                  <a:pt x="6085042" y="758325"/>
                </a:cubicBezTo>
                <a:cubicBezTo>
                  <a:pt x="6129687" y="1055955"/>
                  <a:pt x="6144568" y="1398230"/>
                  <a:pt x="6129687" y="1755386"/>
                </a:cubicBezTo>
                <a:cubicBezTo>
                  <a:pt x="5653478" y="1800031"/>
                  <a:pt x="5117744" y="1904201"/>
                  <a:pt x="4537365" y="2082780"/>
                </a:cubicBezTo>
                <a:cubicBezTo>
                  <a:pt x="3763526" y="2291121"/>
                  <a:pt x="3138502" y="2544106"/>
                  <a:pt x="2617649" y="2826855"/>
                </a:cubicBezTo>
                <a:cubicBezTo>
                  <a:pt x="2290256" y="2990552"/>
                  <a:pt x="2007507" y="3169130"/>
                  <a:pt x="1769403" y="3362590"/>
                </a:cubicBezTo>
                <a:cubicBezTo>
                  <a:pt x="1442009" y="3615576"/>
                  <a:pt x="1129497" y="3942969"/>
                  <a:pt x="1055090" y="4300125"/>
                </a:cubicBezTo>
                <a:cubicBezTo>
                  <a:pt x="1025327" y="4419178"/>
                  <a:pt x="1025327" y="4538230"/>
                  <a:pt x="1040208" y="4672163"/>
                </a:cubicBezTo>
                <a:cubicBezTo>
                  <a:pt x="697933" y="4225718"/>
                  <a:pt x="459829" y="3809035"/>
                  <a:pt x="266370" y="3407235"/>
                </a:cubicBezTo>
                <a:cubicBezTo>
                  <a:pt x="72910" y="2975671"/>
                  <a:pt x="-61024" y="2514344"/>
                  <a:pt x="28265" y="2142306"/>
                </a:cubicBezTo>
                <a:cubicBezTo>
                  <a:pt x="117554" y="1770268"/>
                  <a:pt x="474711" y="1427993"/>
                  <a:pt x="846749" y="1160126"/>
                </a:cubicBezTo>
                <a:cubicBezTo>
                  <a:pt x="1203905" y="907140"/>
                  <a:pt x="1635469" y="654154"/>
                  <a:pt x="2141441" y="416050"/>
                </a:cubicBezTo>
                <a:cubicBezTo>
                  <a:pt x="2394427" y="304439"/>
                  <a:pt x="2666014" y="196548"/>
                  <a:pt x="2956204" y="92377"/>
                </a:cubicBezTo>
                <a:close/>
              </a:path>
            </a:pathLst>
          </a:custGeom>
          <a:gradFill>
            <a:gsLst>
              <a:gs pos="0">
                <a:schemeClr val="bg1">
                  <a:lumMod val="85000"/>
                  <a:alpha val="50000"/>
                </a:schemeClr>
              </a:gs>
              <a:gs pos="100000">
                <a:schemeClr val="bg1"/>
              </a:gs>
            </a:gsLst>
            <a:lin ang="5400000" scaled="1"/>
          </a:gra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Текст 48">
            <a:extLst>
              <a:ext uri="{FF2B5EF4-FFF2-40B4-BE49-F238E27FC236}">
                <a16:creationId xmlns:a16="http://schemas.microsoft.com/office/drawing/2014/main" id="{7132AC85-59C5-462E-8D88-3B5D741821AC}"/>
              </a:ext>
            </a:extLst>
          </p:cNvPr>
          <p:cNvSpPr txBox="1">
            <a:spLocks/>
          </p:cNvSpPr>
          <p:nvPr/>
        </p:nvSpPr>
        <p:spPr>
          <a:xfrm>
            <a:off x="479376" y="1421476"/>
            <a:ext cx="803920" cy="5760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4000" kern="400" spc="-300" dirty="0" smtClean="0">
                <a:latin typeface="Arial" panose="020B0604020202020204" pitchFamily="34" charset="0"/>
                <a:cs typeface="Arial" panose="020B0604020202020204" pitchFamily="34" charset="0"/>
              </a:rPr>
              <a:t>01</a:t>
            </a:r>
            <a:endParaRPr lang="ru-RU" sz="400" kern="400" spc="-3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80C025B0-E44B-A04B-9145-4C85D7FC6136}"/>
              </a:ext>
            </a:extLst>
          </p:cNvPr>
          <p:cNvSpPr/>
          <p:nvPr/>
        </p:nvSpPr>
        <p:spPr>
          <a:xfrm>
            <a:off x="1379476" y="1340176"/>
            <a:ext cx="4511766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12077">
              <a:spcAft>
                <a:spcPts val="1200"/>
              </a:spcAft>
            </a:pPr>
            <a:r>
              <a:rPr lang="ru-RU" sz="1600" b="1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Arial"/>
              </a:rPr>
              <a:t>Восстановить леса </a:t>
            </a:r>
            <a:r>
              <a:rPr lang="ru-RU" sz="1600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Arial"/>
              </a:rPr>
              <a:t>Вологодской </a:t>
            </a:r>
            <a:br>
              <a:rPr lang="ru-RU" sz="1600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Arial"/>
              </a:rPr>
            </a:br>
            <a:r>
              <a:rPr lang="ru-RU" sz="1600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Arial"/>
              </a:rPr>
              <a:t>области и регионов присутствия </a:t>
            </a:r>
            <a:r>
              <a:rPr lang="ru-RU" sz="1600" dirty="0" err="1" smtClean="0">
                <a:solidFill>
                  <a:srgbClr val="000000">
                    <a:lumMod val="75000"/>
                    <a:lumOff val="25000"/>
                  </a:srgbClr>
                </a:solidFill>
                <a:latin typeface="Arial"/>
              </a:rPr>
              <a:t>Севергрупп</a:t>
            </a:r>
            <a:r>
              <a:rPr lang="ru-RU" sz="1600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Arial"/>
              </a:rPr>
              <a:t> </a:t>
            </a:r>
            <a:br>
              <a:rPr lang="ru-RU" sz="1600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Arial"/>
              </a:rPr>
            </a:br>
            <a:r>
              <a:rPr lang="ru-RU" sz="1600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Arial"/>
              </a:rPr>
              <a:t>(высадить 1000+ деревьев)</a:t>
            </a:r>
            <a:endParaRPr lang="ru-RU" sz="1600" dirty="0">
              <a:solidFill>
                <a:srgbClr val="000000">
                  <a:lumMod val="75000"/>
                  <a:lumOff val="25000"/>
                </a:srgbClr>
              </a:solidFill>
              <a:latin typeface="Arial"/>
            </a:endParaRPr>
          </a:p>
        </p:txBody>
      </p:sp>
      <p:sp>
        <p:nvSpPr>
          <p:cNvPr id="9" name="Текст 48">
            <a:extLst>
              <a:ext uri="{FF2B5EF4-FFF2-40B4-BE49-F238E27FC236}">
                <a16:creationId xmlns:a16="http://schemas.microsoft.com/office/drawing/2014/main" id="{7132AC85-59C5-462E-8D88-3B5D741821AC}"/>
              </a:ext>
            </a:extLst>
          </p:cNvPr>
          <p:cNvSpPr txBox="1">
            <a:spLocks/>
          </p:cNvSpPr>
          <p:nvPr/>
        </p:nvSpPr>
        <p:spPr>
          <a:xfrm>
            <a:off x="479376" y="2335849"/>
            <a:ext cx="803920" cy="5760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4000" kern="400" spc="-300" dirty="0" smtClean="0">
                <a:latin typeface="Arial" panose="020B0604020202020204" pitchFamily="34" charset="0"/>
                <a:cs typeface="Arial" panose="020B0604020202020204" pitchFamily="34" charset="0"/>
              </a:rPr>
              <a:t>02</a:t>
            </a:r>
            <a:endParaRPr lang="ru-RU" sz="400" kern="400" spc="-3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80C025B0-E44B-A04B-9145-4C85D7FC6136}"/>
              </a:ext>
            </a:extLst>
          </p:cNvPr>
          <p:cNvSpPr/>
          <p:nvPr/>
        </p:nvSpPr>
        <p:spPr>
          <a:xfrm>
            <a:off x="1379476" y="2375996"/>
            <a:ext cx="4630052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12077">
              <a:spcAft>
                <a:spcPts val="1200"/>
              </a:spcAft>
            </a:pPr>
            <a:r>
              <a:rPr lang="ru-RU" sz="1600" b="1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Arial"/>
              </a:rPr>
              <a:t>Увеличить количество</a:t>
            </a:r>
            <a:r>
              <a:rPr lang="ru-RU" sz="1600" b="1" dirty="0">
                <a:solidFill>
                  <a:srgbClr val="000000">
                    <a:lumMod val="75000"/>
                    <a:lumOff val="25000"/>
                  </a:srgbClr>
                </a:solidFill>
                <a:latin typeface="Arial"/>
              </a:rPr>
              <a:t> участников </a:t>
            </a:r>
            <a:r>
              <a:rPr lang="ru-RU" sz="1600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Arial"/>
              </a:rPr>
              <a:t>сообщества </a:t>
            </a:r>
            <a:r>
              <a:rPr lang="ru-RU" sz="1600" dirty="0">
                <a:solidFill>
                  <a:srgbClr val="000000">
                    <a:lumMod val="75000"/>
                    <a:lumOff val="25000"/>
                  </a:srgbClr>
                </a:solidFill>
                <a:latin typeface="Arial"/>
              </a:rPr>
              <a:t>к концу 2020 </a:t>
            </a:r>
            <a:r>
              <a:rPr lang="ru-RU" sz="1600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Arial"/>
              </a:rPr>
              <a:t>года</a:t>
            </a: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80C025B0-E44B-A04B-9145-4C85D7FC6136}"/>
              </a:ext>
            </a:extLst>
          </p:cNvPr>
          <p:cNvSpPr/>
          <p:nvPr/>
        </p:nvSpPr>
        <p:spPr>
          <a:xfrm>
            <a:off x="1379476" y="4206405"/>
            <a:ext cx="4500500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12077">
              <a:spcAft>
                <a:spcPts val="1200"/>
              </a:spcAft>
            </a:pPr>
            <a:r>
              <a:rPr lang="ru-RU" sz="1600" b="1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Arial"/>
              </a:rPr>
              <a:t>Провести</a:t>
            </a:r>
            <a:r>
              <a:rPr lang="ru-RU" sz="1600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Arial"/>
              </a:rPr>
              <a:t> </a:t>
            </a:r>
            <a:r>
              <a:rPr lang="ru-RU" sz="1600" dirty="0">
                <a:solidFill>
                  <a:srgbClr val="000000">
                    <a:lumMod val="75000"/>
                    <a:lumOff val="25000"/>
                  </a:srgbClr>
                </a:solidFill>
                <a:latin typeface="Arial"/>
              </a:rPr>
              <a:t>не менее </a:t>
            </a:r>
            <a:r>
              <a:rPr lang="ru-RU" sz="1600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Arial"/>
              </a:rPr>
              <a:t>3 </a:t>
            </a:r>
            <a:r>
              <a:rPr lang="ru-RU" sz="1600" dirty="0">
                <a:solidFill>
                  <a:srgbClr val="000000">
                    <a:lumMod val="75000"/>
                    <a:lumOff val="25000"/>
                  </a:srgbClr>
                </a:solidFill>
                <a:latin typeface="Arial"/>
              </a:rPr>
              <a:t>собственных спортивных </a:t>
            </a:r>
            <a:r>
              <a:rPr lang="ru-RU" sz="1600" b="1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Arial"/>
              </a:rPr>
              <a:t>мероприятий</a:t>
            </a:r>
          </a:p>
        </p:txBody>
      </p:sp>
      <p:sp>
        <p:nvSpPr>
          <p:cNvPr id="12" name="Текст 48">
            <a:extLst>
              <a:ext uri="{FF2B5EF4-FFF2-40B4-BE49-F238E27FC236}">
                <a16:creationId xmlns:a16="http://schemas.microsoft.com/office/drawing/2014/main" id="{7132AC85-59C5-462E-8D88-3B5D741821AC}"/>
              </a:ext>
            </a:extLst>
          </p:cNvPr>
          <p:cNvSpPr txBox="1">
            <a:spLocks/>
          </p:cNvSpPr>
          <p:nvPr/>
        </p:nvSpPr>
        <p:spPr>
          <a:xfrm>
            <a:off x="479376" y="3250222"/>
            <a:ext cx="803920" cy="5760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4000" kern="400" spc="-300" dirty="0" smtClean="0">
                <a:latin typeface="Arial" panose="020B0604020202020204" pitchFamily="34" charset="0"/>
                <a:cs typeface="Arial" panose="020B0604020202020204" pitchFamily="34" charset="0"/>
              </a:rPr>
              <a:t>03</a:t>
            </a:r>
            <a:endParaRPr lang="ru-RU" sz="400" kern="400" spc="-3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80C025B0-E44B-A04B-9145-4C85D7FC6136}"/>
              </a:ext>
            </a:extLst>
          </p:cNvPr>
          <p:cNvSpPr/>
          <p:nvPr/>
        </p:nvSpPr>
        <p:spPr>
          <a:xfrm>
            <a:off x="1386769" y="3292032"/>
            <a:ext cx="4392488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12077">
              <a:spcAft>
                <a:spcPts val="1200"/>
              </a:spcAft>
            </a:pPr>
            <a:r>
              <a:rPr lang="ru-RU" sz="1600" b="1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Arial"/>
              </a:rPr>
              <a:t>Масштабировать </a:t>
            </a:r>
            <a:r>
              <a:rPr lang="ru-RU" sz="1600" b="1" dirty="0">
                <a:solidFill>
                  <a:srgbClr val="000000">
                    <a:lumMod val="75000"/>
                    <a:lumOff val="25000"/>
                  </a:srgbClr>
                </a:solidFill>
                <a:latin typeface="Arial"/>
              </a:rPr>
              <a:t>сообщество </a:t>
            </a:r>
            <a:r>
              <a:rPr lang="ru-RU" sz="1600" dirty="0">
                <a:solidFill>
                  <a:srgbClr val="000000">
                    <a:lumMod val="75000"/>
                    <a:lumOff val="25000"/>
                  </a:srgbClr>
                </a:solidFill>
                <a:latin typeface="Arial"/>
              </a:rPr>
              <a:t>на всю </a:t>
            </a:r>
            <a:r>
              <a:rPr lang="ru-RU" sz="1600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Arial"/>
              </a:rPr>
              <a:t/>
            </a:r>
            <a:br>
              <a:rPr lang="ru-RU" sz="1600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Arial"/>
              </a:rPr>
            </a:br>
            <a:r>
              <a:rPr lang="ru-RU" sz="1600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Arial"/>
              </a:rPr>
              <a:t>группу компаний</a:t>
            </a:r>
          </a:p>
        </p:txBody>
      </p:sp>
      <p:sp>
        <p:nvSpPr>
          <p:cNvPr id="14" name="Текст 48">
            <a:extLst>
              <a:ext uri="{FF2B5EF4-FFF2-40B4-BE49-F238E27FC236}">
                <a16:creationId xmlns:a16="http://schemas.microsoft.com/office/drawing/2014/main" id="{7132AC85-59C5-462E-8D88-3B5D741821AC}"/>
              </a:ext>
            </a:extLst>
          </p:cNvPr>
          <p:cNvSpPr txBox="1">
            <a:spLocks/>
          </p:cNvSpPr>
          <p:nvPr/>
        </p:nvSpPr>
        <p:spPr>
          <a:xfrm>
            <a:off x="479376" y="4164595"/>
            <a:ext cx="803920" cy="5760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4000" kern="400" spc="-300" dirty="0" smtClean="0">
                <a:latin typeface="Arial" panose="020B0604020202020204" pitchFamily="34" charset="0"/>
                <a:cs typeface="Arial" panose="020B0604020202020204" pitchFamily="34" charset="0"/>
              </a:rPr>
              <a:t>04</a:t>
            </a:r>
            <a:endParaRPr lang="ru-RU" sz="400" kern="400" spc="-3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80C025B0-E44B-A04B-9145-4C85D7FC6136}"/>
              </a:ext>
            </a:extLst>
          </p:cNvPr>
          <p:cNvSpPr/>
          <p:nvPr/>
        </p:nvSpPr>
        <p:spPr>
          <a:xfrm>
            <a:off x="1379476" y="4994592"/>
            <a:ext cx="4500500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12077">
              <a:spcAft>
                <a:spcPts val="1200"/>
              </a:spcAft>
            </a:pPr>
            <a:r>
              <a:rPr lang="ru-RU" sz="1600" b="1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Arial"/>
              </a:rPr>
              <a:t>Принять </a:t>
            </a:r>
            <a:r>
              <a:rPr lang="ru-RU" sz="1600" b="1" dirty="0">
                <a:solidFill>
                  <a:srgbClr val="000000">
                    <a:lumMod val="75000"/>
                    <a:lumOff val="25000"/>
                  </a:srgbClr>
                </a:solidFill>
                <a:latin typeface="Arial"/>
              </a:rPr>
              <a:t>участие командой «</a:t>
            </a:r>
            <a:r>
              <a:rPr lang="en-US" sz="1600" b="1" dirty="0">
                <a:solidFill>
                  <a:srgbClr val="000000">
                    <a:lumMod val="75000"/>
                    <a:lumOff val="25000"/>
                  </a:srgbClr>
                </a:solidFill>
                <a:latin typeface="Arial"/>
              </a:rPr>
              <a:t>No limits</a:t>
            </a:r>
            <a:r>
              <a:rPr lang="ru-RU" sz="1600" b="1" dirty="0">
                <a:solidFill>
                  <a:srgbClr val="000000">
                    <a:lumMod val="75000"/>
                    <a:lumOff val="25000"/>
                  </a:srgbClr>
                </a:solidFill>
                <a:latin typeface="Arial"/>
              </a:rPr>
              <a:t>» </a:t>
            </a:r>
            <a:r>
              <a:rPr lang="ru-RU" sz="1600" dirty="0">
                <a:solidFill>
                  <a:srgbClr val="000000">
                    <a:lumMod val="75000"/>
                    <a:lumOff val="25000"/>
                  </a:srgbClr>
                </a:solidFill>
                <a:latin typeface="Arial"/>
              </a:rPr>
              <a:t>в 100-150 человек в российских или международных </a:t>
            </a:r>
            <a:r>
              <a:rPr lang="ru-RU" sz="1600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Arial"/>
              </a:rPr>
              <a:t>соревнованиях</a:t>
            </a:r>
            <a:endParaRPr lang="ru-RU" sz="1600" dirty="0">
              <a:solidFill>
                <a:srgbClr val="000000">
                  <a:lumMod val="75000"/>
                  <a:lumOff val="25000"/>
                </a:srgbClr>
              </a:solidFill>
              <a:latin typeface="Arial"/>
            </a:endParaRPr>
          </a:p>
        </p:txBody>
      </p:sp>
      <p:sp>
        <p:nvSpPr>
          <p:cNvPr id="16" name="Текст 48">
            <a:extLst>
              <a:ext uri="{FF2B5EF4-FFF2-40B4-BE49-F238E27FC236}">
                <a16:creationId xmlns:a16="http://schemas.microsoft.com/office/drawing/2014/main" id="{7132AC85-59C5-462E-8D88-3B5D741821AC}"/>
              </a:ext>
            </a:extLst>
          </p:cNvPr>
          <p:cNvSpPr txBox="1">
            <a:spLocks/>
          </p:cNvSpPr>
          <p:nvPr/>
        </p:nvSpPr>
        <p:spPr>
          <a:xfrm>
            <a:off x="479376" y="5075892"/>
            <a:ext cx="803920" cy="5760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4000" kern="400" spc="-300" dirty="0" smtClean="0">
                <a:latin typeface="Arial" panose="020B0604020202020204" pitchFamily="34" charset="0"/>
                <a:cs typeface="Arial" panose="020B0604020202020204" pitchFamily="34" charset="0"/>
              </a:rPr>
              <a:t>05</a:t>
            </a:r>
            <a:endParaRPr lang="ru-RU" sz="400" kern="400" spc="-3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Стрелка влево 19"/>
          <p:cNvSpPr/>
          <p:nvPr/>
        </p:nvSpPr>
        <p:spPr>
          <a:xfrm>
            <a:off x="5743872" y="2384884"/>
            <a:ext cx="1612268" cy="2592288"/>
          </a:xfrm>
          <a:prstGeom prst="leftArrow">
            <a:avLst/>
          </a:prstGeom>
          <a:solidFill>
            <a:srgbClr val="C00000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indent="0" algn="ctr" defTabSz="895350"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</a:pPr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19" name="Стрелка влево 18"/>
          <p:cNvSpPr/>
          <p:nvPr/>
        </p:nvSpPr>
        <p:spPr>
          <a:xfrm>
            <a:off x="5513600" y="2260523"/>
            <a:ext cx="1724254" cy="2592288"/>
          </a:xfrm>
          <a:prstGeom prst="leftArrow">
            <a:avLst/>
          </a:prstGeom>
          <a:gradFill>
            <a:gsLst>
              <a:gs pos="28000">
                <a:schemeClr val="accent2"/>
              </a:gs>
              <a:gs pos="64000">
                <a:schemeClr val="accent2">
                  <a:lumMod val="88000"/>
                  <a:lumOff val="12000"/>
                  <a:alpha val="41000"/>
                </a:scheme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indent="0" algn="ctr" defTabSz="895350"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</a:pPr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22" name="Овал 21">
            <a:extLst>
              <a:ext uri="{FF2B5EF4-FFF2-40B4-BE49-F238E27FC236}">
                <a16:creationId xmlns:a16="http://schemas.microsoft.com/office/drawing/2014/main" id="{3E958515-6212-4C93-8632-5EE4E7542C96}"/>
              </a:ext>
            </a:extLst>
          </p:cNvPr>
          <p:cNvSpPr>
            <a:spLocks noChangeAspect="1"/>
          </p:cNvSpPr>
          <p:nvPr/>
        </p:nvSpPr>
        <p:spPr>
          <a:xfrm>
            <a:off x="7102491" y="1359769"/>
            <a:ext cx="4646608" cy="4646606"/>
          </a:xfrm>
          <a:prstGeom prst="ellipse">
            <a:avLst/>
          </a:prstGeom>
          <a:noFill/>
          <a:ln>
            <a:solidFill>
              <a:schemeClr val="accent3">
                <a:lumMod val="60000"/>
                <a:lumOff val="40000"/>
                <a:alpha val="21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17">
              <a:defRPr/>
            </a:pPr>
            <a:endParaRPr lang="ru-RU" sz="1350">
              <a:solidFill>
                <a:srgbClr val="FFFFFF"/>
              </a:solidFill>
              <a:latin typeface="Play"/>
            </a:endParaRPr>
          </a:p>
        </p:txBody>
      </p:sp>
      <p:grpSp>
        <p:nvGrpSpPr>
          <p:cNvPr id="23" name="Группа 22"/>
          <p:cNvGrpSpPr/>
          <p:nvPr/>
        </p:nvGrpSpPr>
        <p:grpSpPr>
          <a:xfrm>
            <a:off x="7742348" y="2116299"/>
            <a:ext cx="221640" cy="216000"/>
            <a:chOff x="-779712" y="2762064"/>
            <a:chExt cx="221640" cy="216000"/>
          </a:xfrm>
        </p:grpSpPr>
        <p:sp>
          <p:nvSpPr>
            <p:cNvPr id="24" name="Равнобедренный треугольник 23"/>
            <p:cNvSpPr/>
            <p:nvPr/>
          </p:nvSpPr>
          <p:spPr>
            <a:xfrm rot="5400000">
              <a:off x="-738072" y="2762064"/>
              <a:ext cx="180000" cy="180000"/>
            </a:xfrm>
            <a:prstGeom prst="triangle">
              <a:avLst/>
            </a:prstGeom>
            <a:solidFill>
              <a:srgbClr val="B6181F"/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indent="0" algn="ctr" defTabSz="895350">
                <a:spcAft>
                  <a:spcPts val="600"/>
                </a:spcAft>
                <a:buClr>
                  <a:schemeClr val="accent1"/>
                </a:buClr>
                <a:buFont typeface="Wingdings" panose="05000000000000000000" pitchFamily="2" charset="2"/>
                <a:buNone/>
              </a:pPr>
              <a:endParaRPr lang="ru-RU" sz="1200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25" name="Равнобедренный треугольник 24"/>
            <p:cNvSpPr/>
            <p:nvPr/>
          </p:nvSpPr>
          <p:spPr>
            <a:xfrm rot="5400000">
              <a:off x="-779760" y="2762112"/>
              <a:ext cx="216000" cy="215904"/>
            </a:xfrm>
            <a:prstGeom prst="triangle">
              <a:avLst/>
            </a:prstGeom>
            <a:gradFill>
              <a:gsLst>
                <a:gs pos="0">
                  <a:schemeClr val="accent2"/>
                </a:gs>
                <a:gs pos="100000">
                  <a:schemeClr val="accent2">
                    <a:lumMod val="75000"/>
                  </a:schemeClr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indent="0" algn="ctr" defTabSz="895350">
                <a:spcAft>
                  <a:spcPts val="600"/>
                </a:spcAft>
                <a:buClr>
                  <a:schemeClr val="accent1"/>
                </a:buClr>
                <a:buFont typeface="Wingdings" panose="05000000000000000000" pitchFamily="2" charset="2"/>
                <a:buNone/>
              </a:pPr>
              <a:endParaRPr lang="ru-RU" sz="1200" dirty="0" err="1" smtClean="0">
                <a:solidFill>
                  <a:schemeClr val="bg1"/>
                </a:solidFill>
              </a:endParaRPr>
            </a:p>
          </p:txBody>
        </p:sp>
      </p:grpSp>
      <p:grpSp>
        <p:nvGrpSpPr>
          <p:cNvPr id="26" name="Группа 25"/>
          <p:cNvGrpSpPr/>
          <p:nvPr/>
        </p:nvGrpSpPr>
        <p:grpSpPr>
          <a:xfrm>
            <a:off x="7739480" y="2622217"/>
            <a:ext cx="221640" cy="216000"/>
            <a:chOff x="-779712" y="2762064"/>
            <a:chExt cx="221640" cy="216000"/>
          </a:xfrm>
        </p:grpSpPr>
        <p:sp>
          <p:nvSpPr>
            <p:cNvPr id="27" name="Равнобедренный треугольник 26"/>
            <p:cNvSpPr/>
            <p:nvPr/>
          </p:nvSpPr>
          <p:spPr>
            <a:xfrm rot="5400000">
              <a:off x="-738072" y="2762064"/>
              <a:ext cx="180000" cy="180000"/>
            </a:xfrm>
            <a:prstGeom prst="triangle">
              <a:avLst/>
            </a:prstGeom>
            <a:solidFill>
              <a:srgbClr val="B6181F"/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indent="0" algn="ctr" defTabSz="895350">
                <a:spcAft>
                  <a:spcPts val="600"/>
                </a:spcAft>
                <a:buClr>
                  <a:schemeClr val="accent1"/>
                </a:buClr>
                <a:buFont typeface="Wingdings" panose="05000000000000000000" pitchFamily="2" charset="2"/>
                <a:buNone/>
              </a:pPr>
              <a:endParaRPr lang="ru-RU" sz="1200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28" name="Равнобедренный треугольник 27"/>
            <p:cNvSpPr/>
            <p:nvPr/>
          </p:nvSpPr>
          <p:spPr>
            <a:xfrm rot="5400000">
              <a:off x="-779760" y="2762112"/>
              <a:ext cx="216000" cy="215904"/>
            </a:xfrm>
            <a:prstGeom prst="triangle">
              <a:avLst/>
            </a:prstGeom>
            <a:gradFill>
              <a:gsLst>
                <a:gs pos="0">
                  <a:schemeClr val="accent2"/>
                </a:gs>
                <a:gs pos="100000">
                  <a:schemeClr val="accent2">
                    <a:lumMod val="75000"/>
                  </a:schemeClr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indent="0" algn="ctr" defTabSz="895350">
                <a:spcAft>
                  <a:spcPts val="600"/>
                </a:spcAft>
                <a:buClr>
                  <a:schemeClr val="accent1"/>
                </a:buClr>
                <a:buFont typeface="Wingdings" panose="05000000000000000000" pitchFamily="2" charset="2"/>
                <a:buNone/>
              </a:pPr>
              <a:endParaRPr lang="ru-RU" sz="1200" dirty="0" err="1" smtClean="0">
                <a:solidFill>
                  <a:schemeClr val="bg1"/>
                </a:solidFill>
              </a:endParaRPr>
            </a:p>
          </p:txBody>
        </p:sp>
      </p:grpSp>
      <p:grpSp>
        <p:nvGrpSpPr>
          <p:cNvPr id="29" name="Группа 28"/>
          <p:cNvGrpSpPr/>
          <p:nvPr/>
        </p:nvGrpSpPr>
        <p:grpSpPr>
          <a:xfrm>
            <a:off x="7744721" y="3128135"/>
            <a:ext cx="221640" cy="216000"/>
            <a:chOff x="-779712" y="2762064"/>
            <a:chExt cx="221640" cy="216000"/>
          </a:xfrm>
        </p:grpSpPr>
        <p:sp>
          <p:nvSpPr>
            <p:cNvPr id="30" name="Равнобедренный треугольник 29"/>
            <p:cNvSpPr/>
            <p:nvPr/>
          </p:nvSpPr>
          <p:spPr>
            <a:xfrm rot="5400000">
              <a:off x="-738072" y="2762064"/>
              <a:ext cx="180000" cy="180000"/>
            </a:xfrm>
            <a:prstGeom prst="triangle">
              <a:avLst/>
            </a:prstGeom>
            <a:solidFill>
              <a:srgbClr val="B6181F"/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indent="0" algn="ctr" defTabSz="895350">
                <a:spcAft>
                  <a:spcPts val="600"/>
                </a:spcAft>
                <a:buClr>
                  <a:schemeClr val="accent1"/>
                </a:buClr>
                <a:buFont typeface="Wingdings" panose="05000000000000000000" pitchFamily="2" charset="2"/>
                <a:buNone/>
              </a:pPr>
              <a:endParaRPr lang="ru-RU" sz="1200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31" name="Равнобедренный треугольник 30"/>
            <p:cNvSpPr/>
            <p:nvPr/>
          </p:nvSpPr>
          <p:spPr>
            <a:xfrm rot="5400000">
              <a:off x="-779760" y="2762112"/>
              <a:ext cx="216000" cy="215904"/>
            </a:xfrm>
            <a:prstGeom prst="triangle">
              <a:avLst/>
            </a:prstGeom>
            <a:gradFill>
              <a:gsLst>
                <a:gs pos="0">
                  <a:schemeClr val="accent2"/>
                </a:gs>
                <a:gs pos="100000">
                  <a:schemeClr val="accent2">
                    <a:lumMod val="75000"/>
                  </a:schemeClr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indent="0" algn="ctr" defTabSz="895350">
                <a:spcAft>
                  <a:spcPts val="600"/>
                </a:spcAft>
                <a:buClr>
                  <a:schemeClr val="accent1"/>
                </a:buClr>
                <a:buFont typeface="Wingdings" panose="05000000000000000000" pitchFamily="2" charset="2"/>
                <a:buNone/>
              </a:pPr>
              <a:endParaRPr lang="ru-RU" sz="1200" dirty="0" err="1" smtClean="0">
                <a:solidFill>
                  <a:schemeClr val="bg1"/>
                </a:solidFill>
              </a:endParaRPr>
            </a:p>
          </p:txBody>
        </p:sp>
      </p:grpSp>
      <p:grpSp>
        <p:nvGrpSpPr>
          <p:cNvPr id="32" name="Группа 31"/>
          <p:cNvGrpSpPr/>
          <p:nvPr/>
        </p:nvGrpSpPr>
        <p:grpSpPr>
          <a:xfrm>
            <a:off x="7736612" y="3670053"/>
            <a:ext cx="221640" cy="216000"/>
            <a:chOff x="-779712" y="2762064"/>
            <a:chExt cx="221640" cy="216000"/>
          </a:xfrm>
        </p:grpSpPr>
        <p:sp>
          <p:nvSpPr>
            <p:cNvPr id="33" name="Равнобедренный треугольник 32"/>
            <p:cNvSpPr/>
            <p:nvPr/>
          </p:nvSpPr>
          <p:spPr>
            <a:xfrm rot="5400000">
              <a:off x="-738072" y="2762064"/>
              <a:ext cx="180000" cy="180000"/>
            </a:xfrm>
            <a:prstGeom prst="triangle">
              <a:avLst/>
            </a:prstGeom>
            <a:solidFill>
              <a:srgbClr val="B6181F"/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indent="0" algn="ctr" defTabSz="895350">
                <a:spcAft>
                  <a:spcPts val="600"/>
                </a:spcAft>
                <a:buClr>
                  <a:schemeClr val="accent1"/>
                </a:buClr>
                <a:buFont typeface="Wingdings" panose="05000000000000000000" pitchFamily="2" charset="2"/>
                <a:buNone/>
              </a:pPr>
              <a:endParaRPr lang="ru-RU" sz="1200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34" name="Равнобедренный треугольник 33"/>
            <p:cNvSpPr/>
            <p:nvPr/>
          </p:nvSpPr>
          <p:spPr>
            <a:xfrm rot="5400000">
              <a:off x="-779760" y="2762112"/>
              <a:ext cx="216000" cy="215904"/>
            </a:xfrm>
            <a:prstGeom prst="triangle">
              <a:avLst/>
            </a:prstGeom>
            <a:gradFill>
              <a:gsLst>
                <a:gs pos="0">
                  <a:schemeClr val="accent2"/>
                </a:gs>
                <a:gs pos="100000">
                  <a:schemeClr val="accent2">
                    <a:lumMod val="75000"/>
                  </a:schemeClr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indent="0" algn="ctr" defTabSz="895350">
                <a:spcAft>
                  <a:spcPts val="600"/>
                </a:spcAft>
                <a:buClr>
                  <a:schemeClr val="accent1"/>
                </a:buClr>
                <a:buFont typeface="Wingdings" panose="05000000000000000000" pitchFamily="2" charset="2"/>
                <a:buNone/>
              </a:pPr>
              <a:endParaRPr lang="ru-RU" sz="1200" dirty="0" err="1" smtClean="0">
                <a:solidFill>
                  <a:schemeClr val="bg1"/>
                </a:solidFill>
              </a:endParaRPr>
            </a:p>
          </p:txBody>
        </p:sp>
      </p:grpSp>
      <p:grpSp>
        <p:nvGrpSpPr>
          <p:cNvPr id="35" name="Группа 34"/>
          <p:cNvGrpSpPr/>
          <p:nvPr/>
        </p:nvGrpSpPr>
        <p:grpSpPr>
          <a:xfrm>
            <a:off x="7742348" y="4590848"/>
            <a:ext cx="221640" cy="216000"/>
            <a:chOff x="-779712" y="2762064"/>
            <a:chExt cx="221640" cy="216000"/>
          </a:xfrm>
        </p:grpSpPr>
        <p:sp>
          <p:nvSpPr>
            <p:cNvPr id="36" name="Равнобедренный треугольник 35"/>
            <p:cNvSpPr/>
            <p:nvPr/>
          </p:nvSpPr>
          <p:spPr>
            <a:xfrm rot="5400000">
              <a:off x="-738072" y="2762064"/>
              <a:ext cx="180000" cy="180000"/>
            </a:xfrm>
            <a:prstGeom prst="triangle">
              <a:avLst/>
            </a:prstGeom>
            <a:solidFill>
              <a:srgbClr val="B6181F"/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indent="0" algn="ctr" defTabSz="895350">
                <a:spcAft>
                  <a:spcPts val="600"/>
                </a:spcAft>
                <a:buClr>
                  <a:schemeClr val="accent1"/>
                </a:buClr>
                <a:buFont typeface="Wingdings" panose="05000000000000000000" pitchFamily="2" charset="2"/>
                <a:buNone/>
              </a:pPr>
              <a:endParaRPr lang="ru-RU" sz="1200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37" name="Равнобедренный треугольник 36"/>
            <p:cNvSpPr/>
            <p:nvPr/>
          </p:nvSpPr>
          <p:spPr>
            <a:xfrm rot="5400000">
              <a:off x="-779760" y="2762112"/>
              <a:ext cx="216000" cy="215904"/>
            </a:xfrm>
            <a:prstGeom prst="triangle">
              <a:avLst/>
            </a:prstGeom>
            <a:gradFill>
              <a:gsLst>
                <a:gs pos="0">
                  <a:schemeClr val="accent2"/>
                </a:gs>
                <a:gs pos="100000">
                  <a:schemeClr val="accent2">
                    <a:lumMod val="75000"/>
                  </a:schemeClr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indent="0" algn="ctr" defTabSz="895350">
                <a:spcAft>
                  <a:spcPts val="600"/>
                </a:spcAft>
                <a:buClr>
                  <a:schemeClr val="accent1"/>
                </a:buClr>
                <a:buFont typeface="Wingdings" panose="05000000000000000000" pitchFamily="2" charset="2"/>
                <a:buNone/>
              </a:pPr>
              <a:endParaRPr lang="ru-RU" sz="1200" dirty="0" err="1" smtClean="0">
                <a:solidFill>
                  <a:schemeClr val="bg1"/>
                </a:solidFill>
              </a:endParaRPr>
            </a:p>
          </p:txBody>
        </p:sp>
      </p:grpSp>
      <p:sp>
        <p:nvSpPr>
          <p:cNvPr id="38" name="TextBox 37"/>
          <p:cNvSpPr txBox="1"/>
          <p:nvPr/>
        </p:nvSpPr>
        <p:spPr>
          <a:xfrm>
            <a:off x="8148536" y="2060978"/>
            <a:ext cx="339951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2000" b="1" dirty="0" smtClean="0"/>
              <a:t>Челленджи</a:t>
            </a:r>
            <a:endParaRPr lang="ru-RU" sz="2800" dirty="0" smtClean="0"/>
          </a:p>
        </p:txBody>
      </p:sp>
      <p:sp>
        <p:nvSpPr>
          <p:cNvPr id="39" name="TextBox 38"/>
          <p:cNvSpPr txBox="1"/>
          <p:nvPr/>
        </p:nvSpPr>
        <p:spPr>
          <a:xfrm>
            <a:off x="8155177" y="2527886"/>
            <a:ext cx="364290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2000" b="1" dirty="0" smtClean="0"/>
              <a:t>Соревнования</a:t>
            </a:r>
            <a:endParaRPr lang="ru-RU" sz="1600" dirty="0" smtClean="0"/>
          </a:p>
        </p:txBody>
      </p:sp>
      <p:sp>
        <p:nvSpPr>
          <p:cNvPr id="41" name="TextBox 40"/>
          <p:cNvSpPr txBox="1"/>
          <p:nvPr/>
        </p:nvSpPr>
        <p:spPr>
          <a:xfrm>
            <a:off x="8151051" y="3062710"/>
            <a:ext cx="3769076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2000" b="1" dirty="0" smtClean="0"/>
              <a:t>Спортивные мероприятия</a:t>
            </a:r>
            <a:endParaRPr lang="ru-RU" sz="2000" dirty="0" smtClean="0"/>
          </a:p>
        </p:txBody>
      </p:sp>
      <p:sp>
        <p:nvSpPr>
          <p:cNvPr id="42" name="TextBox 41"/>
          <p:cNvSpPr txBox="1"/>
          <p:nvPr/>
        </p:nvSpPr>
        <p:spPr>
          <a:xfrm>
            <a:off x="8147322" y="4522892"/>
            <a:ext cx="3772805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2000" b="1" dirty="0" smtClean="0"/>
              <a:t>Эко-акция </a:t>
            </a:r>
            <a:br>
              <a:rPr lang="ru-RU" sz="2000" b="1" dirty="0" smtClean="0"/>
            </a:br>
            <a:r>
              <a:rPr lang="ru-RU" sz="2000" b="1" dirty="0" smtClean="0"/>
              <a:t>«Меняй мир через спорт»</a:t>
            </a:r>
            <a:endParaRPr lang="ru-RU" sz="2000" dirty="0" smtClean="0"/>
          </a:p>
        </p:txBody>
      </p:sp>
      <p:sp>
        <p:nvSpPr>
          <p:cNvPr id="43" name="TextBox 42"/>
          <p:cNvSpPr txBox="1"/>
          <p:nvPr/>
        </p:nvSpPr>
        <p:spPr>
          <a:xfrm>
            <a:off x="8155177" y="3597534"/>
            <a:ext cx="3769076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2000" b="1" dirty="0" smtClean="0"/>
              <a:t>Мобильное приложение</a:t>
            </a:r>
            <a:endParaRPr lang="ru-RU" sz="2000" dirty="0" smtClean="0"/>
          </a:p>
        </p:txBody>
      </p:sp>
      <p:grpSp>
        <p:nvGrpSpPr>
          <p:cNvPr id="44" name="Группа 43"/>
          <p:cNvGrpSpPr/>
          <p:nvPr/>
        </p:nvGrpSpPr>
        <p:grpSpPr>
          <a:xfrm>
            <a:off x="7736612" y="4139971"/>
            <a:ext cx="221640" cy="216000"/>
            <a:chOff x="-779712" y="2762064"/>
            <a:chExt cx="221640" cy="216000"/>
          </a:xfrm>
        </p:grpSpPr>
        <p:sp>
          <p:nvSpPr>
            <p:cNvPr id="45" name="Равнобедренный треугольник 44"/>
            <p:cNvSpPr/>
            <p:nvPr/>
          </p:nvSpPr>
          <p:spPr>
            <a:xfrm rot="5400000">
              <a:off x="-738072" y="2762064"/>
              <a:ext cx="180000" cy="180000"/>
            </a:xfrm>
            <a:prstGeom prst="triangle">
              <a:avLst/>
            </a:prstGeom>
            <a:solidFill>
              <a:srgbClr val="B6181F"/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indent="0" algn="ctr" defTabSz="895350">
                <a:spcAft>
                  <a:spcPts val="600"/>
                </a:spcAft>
                <a:buClr>
                  <a:schemeClr val="accent1"/>
                </a:buClr>
                <a:buFont typeface="Wingdings" panose="05000000000000000000" pitchFamily="2" charset="2"/>
                <a:buNone/>
              </a:pPr>
              <a:endParaRPr lang="ru-RU" sz="1200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46" name="Равнобедренный треугольник 45"/>
            <p:cNvSpPr/>
            <p:nvPr/>
          </p:nvSpPr>
          <p:spPr>
            <a:xfrm rot="5400000">
              <a:off x="-779760" y="2762112"/>
              <a:ext cx="216000" cy="215904"/>
            </a:xfrm>
            <a:prstGeom prst="triangle">
              <a:avLst/>
            </a:prstGeom>
            <a:gradFill>
              <a:gsLst>
                <a:gs pos="0">
                  <a:schemeClr val="accent2"/>
                </a:gs>
                <a:gs pos="100000">
                  <a:schemeClr val="accent2">
                    <a:lumMod val="75000"/>
                  </a:schemeClr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indent="0" algn="ctr" defTabSz="895350">
                <a:spcAft>
                  <a:spcPts val="600"/>
                </a:spcAft>
                <a:buClr>
                  <a:schemeClr val="accent1"/>
                </a:buClr>
                <a:buFont typeface="Wingdings" panose="05000000000000000000" pitchFamily="2" charset="2"/>
                <a:buNone/>
              </a:pPr>
              <a:endParaRPr lang="ru-RU" sz="1200" dirty="0" err="1" smtClean="0">
                <a:solidFill>
                  <a:schemeClr val="bg1"/>
                </a:solidFill>
              </a:endParaRPr>
            </a:p>
          </p:txBody>
        </p:sp>
      </p:grpSp>
      <p:sp>
        <p:nvSpPr>
          <p:cNvPr id="47" name="TextBox 46"/>
          <p:cNvSpPr txBox="1"/>
          <p:nvPr/>
        </p:nvSpPr>
        <p:spPr>
          <a:xfrm>
            <a:off x="8155177" y="4081521"/>
            <a:ext cx="3769076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2000" b="1" dirty="0" smtClean="0"/>
              <a:t>Коммуникации</a:t>
            </a:r>
            <a:endParaRPr lang="ru-RU" sz="1200" dirty="0" smtClean="0"/>
          </a:p>
        </p:txBody>
      </p:sp>
      <p:sp>
        <p:nvSpPr>
          <p:cNvPr id="51" name="TextBox 50"/>
          <p:cNvSpPr txBox="1"/>
          <p:nvPr/>
        </p:nvSpPr>
        <p:spPr>
          <a:xfrm>
            <a:off x="7539958" y="971983"/>
            <a:ext cx="3399512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400" b="1" dirty="0" smtClean="0"/>
              <a:t>Инструменты достижения целей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30443596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8" name="Слайд think-cell" r:id="rId5" imgW="395" imgH="396" progId="TCLayout.ActiveDocument.1">
                  <p:embed/>
                </p:oleObj>
              </mc:Choice>
              <mc:Fallback>
                <p:oleObj name="Слайд think-cell" r:id="rId5" imgW="395" imgH="396" progId="TCLayout.ActiveDocument.1">
                  <p:embed/>
                  <p:pic>
                    <p:nvPicPr>
                      <p:cNvPr id="15" name="Объект 1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Прямоугольник 1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>
            <a:gsLst>
              <a:gs pos="0">
                <a:schemeClr val="accent2"/>
              </a:gs>
              <a:gs pos="100000">
                <a:schemeClr val="accent2">
                  <a:lumMod val="75000"/>
                </a:scheme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 typeface="Wingdings" panose="05000000000000000000" pitchFamily="2" charset="2"/>
              <a:buNone/>
              <a:tabLst/>
              <a:defRPr/>
            </a:pPr>
            <a:endParaRPr kumimoji="0" lang="ru-RU" sz="2000" b="1" i="0" u="none" strike="noStrike" kern="1200" cap="none" spc="0" normalizeH="0" baseline="0" noProof="0" dirty="0" err="1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6" name="Полилиния: фигура 17">
            <a:extLst>
              <a:ext uri="{FF2B5EF4-FFF2-40B4-BE49-F238E27FC236}">
                <a16:creationId xmlns:a16="http://schemas.microsoft.com/office/drawing/2014/main" id="{37B20B97-EAF6-4431-8702-820103B5FE0E}"/>
              </a:ext>
            </a:extLst>
          </p:cNvPr>
          <p:cNvSpPr/>
          <p:nvPr/>
        </p:nvSpPr>
        <p:spPr>
          <a:xfrm>
            <a:off x="4293704" y="8620"/>
            <a:ext cx="7898296" cy="5922607"/>
          </a:xfrm>
          <a:custGeom>
            <a:avLst/>
            <a:gdLst>
              <a:gd name="connsiteX0" fmla="*/ 2855754 w 8655570"/>
              <a:gd name="connsiteY0" fmla="*/ 3169131 h 6858000"/>
              <a:gd name="connsiteX1" fmla="*/ 3927222 w 8655570"/>
              <a:gd name="connsiteY1" fmla="*/ 4404296 h 6858000"/>
              <a:gd name="connsiteX2" fmla="*/ 5534425 w 8655570"/>
              <a:gd name="connsiteY2" fmla="*/ 5684107 h 6858000"/>
              <a:gd name="connsiteX3" fmla="*/ 6427317 w 8655570"/>
              <a:gd name="connsiteY3" fmla="*/ 6145433 h 6858000"/>
              <a:gd name="connsiteX4" fmla="*/ 7602957 w 8655570"/>
              <a:gd name="connsiteY4" fmla="*/ 6294249 h 6858000"/>
              <a:gd name="connsiteX5" fmla="*/ 7930350 w 8655570"/>
              <a:gd name="connsiteY5" fmla="*/ 6115670 h 6858000"/>
              <a:gd name="connsiteX6" fmla="*/ 7584355 w 8655570"/>
              <a:gd name="connsiteY6" fmla="*/ 6831844 h 6858000"/>
              <a:gd name="connsiteX7" fmla="*/ 7569591 w 8655570"/>
              <a:gd name="connsiteY7" fmla="*/ 6858000 h 6858000"/>
              <a:gd name="connsiteX8" fmla="*/ 3135252 w 8655570"/>
              <a:gd name="connsiteY8" fmla="*/ 6858000 h 6858000"/>
              <a:gd name="connsiteX9" fmla="*/ 3013869 w 8655570"/>
              <a:gd name="connsiteY9" fmla="*/ 6757436 h 6858000"/>
              <a:gd name="connsiteX10" fmla="*/ 2275373 w 8655570"/>
              <a:gd name="connsiteY10" fmla="*/ 6085907 h 6858000"/>
              <a:gd name="connsiteX11" fmla="*/ 1293193 w 8655570"/>
              <a:gd name="connsiteY11" fmla="*/ 5014439 h 6858000"/>
              <a:gd name="connsiteX12" fmla="*/ 1308075 w 8655570"/>
              <a:gd name="connsiteY12" fmla="*/ 4642401 h 6858000"/>
              <a:gd name="connsiteX13" fmla="*/ 2022388 w 8655570"/>
              <a:gd name="connsiteY13" fmla="*/ 3704865 h 6858000"/>
              <a:gd name="connsiteX14" fmla="*/ 2855754 w 8655570"/>
              <a:gd name="connsiteY14" fmla="*/ 3169131 h 6858000"/>
              <a:gd name="connsiteX15" fmla="*/ 6308546 w 8655570"/>
              <a:gd name="connsiteY15" fmla="*/ 0 h 6858000"/>
              <a:gd name="connsiteX16" fmla="*/ 8572039 w 8655570"/>
              <a:gd name="connsiteY16" fmla="*/ 0 h 6858000"/>
              <a:gd name="connsiteX17" fmla="*/ 8619085 w 8655570"/>
              <a:gd name="connsiteY17" fmla="*/ 69822 h 6858000"/>
              <a:gd name="connsiteX18" fmla="*/ 8655570 w 8655570"/>
              <a:gd name="connsiteY18" fmla="*/ 141074 h 6858000"/>
              <a:gd name="connsiteX19" fmla="*/ 8655570 w 8655570"/>
              <a:gd name="connsiteY19" fmla="*/ 3882235 h 6858000"/>
              <a:gd name="connsiteX20" fmla="*/ 8540492 w 8655570"/>
              <a:gd name="connsiteY20" fmla="*/ 4359653 h 6858000"/>
              <a:gd name="connsiteX21" fmla="*/ 8094047 w 8655570"/>
              <a:gd name="connsiteY21" fmla="*/ 5743633 h 6858000"/>
              <a:gd name="connsiteX22" fmla="*/ 7766653 w 8655570"/>
              <a:gd name="connsiteY22" fmla="*/ 5907330 h 6858000"/>
              <a:gd name="connsiteX23" fmla="*/ 6591013 w 8655570"/>
              <a:gd name="connsiteY23" fmla="*/ 5758515 h 6858000"/>
              <a:gd name="connsiteX24" fmla="*/ 5713004 w 8655570"/>
              <a:gd name="connsiteY24" fmla="*/ 5312070 h 6858000"/>
              <a:gd name="connsiteX25" fmla="*/ 6248739 w 8655570"/>
              <a:gd name="connsiteY25" fmla="*/ 3764392 h 6858000"/>
              <a:gd name="connsiteX26" fmla="*/ 6561250 w 8655570"/>
              <a:gd name="connsiteY26" fmla="*/ 1740506 h 6858000"/>
              <a:gd name="connsiteX27" fmla="*/ 6516606 w 8655570"/>
              <a:gd name="connsiteY27" fmla="*/ 743444 h 6858000"/>
              <a:gd name="connsiteX28" fmla="*/ 6364071 w 8655570"/>
              <a:gd name="connsiteY28" fmla="*/ 125860 h 6858000"/>
              <a:gd name="connsiteX29" fmla="*/ 3226616 w 8655570"/>
              <a:gd name="connsiteY29" fmla="*/ 0 h 6858000"/>
              <a:gd name="connsiteX30" fmla="*/ 5868673 w 8655570"/>
              <a:gd name="connsiteY30" fmla="*/ 0 h 6858000"/>
              <a:gd name="connsiteX31" fmla="*/ 5878242 w 8655570"/>
              <a:gd name="connsiteY31" fmla="*/ 17010 h 6858000"/>
              <a:gd name="connsiteX32" fmla="*/ 6085042 w 8655570"/>
              <a:gd name="connsiteY32" fmla="*/ 758325 h 6858000"/>
              <a:gd name="connsiteX33" fmla="*/ 6129687 w 8655570"/>
              <a:gd name="connsiteY33" fmla="*/ 1755386 h 6858000"/>
              <a:gd name="connsiteX34" fmla="*/ 4537365 w 8655570"/>
              <a:gd name="connsiteY34" fmla="*/ 2082780 h 6858000"/>
              <a:gd name="connsiteX35" fmla="*/ 2617649 w 8655570"/>
              <a:gd name="connsiteY35" fmla="*/ 2826855 h 6858000"/>
              <a:gd name="connsiteX36" fmla="*/ 1769403 w 8655570"/>
              <a:gd name="connsiteY36" fmla="*/ 3362590 h 6858000"/>
              <a:gd name="connsiteX37" fmla="*/ 1055090 w 8655570"/>
              <a:gd name="connsiteY37" fmla="*/ 4300125 h 6858000"/>
              <a:gd name="connsiteX38" fmla="*/ 1040208 w 8655570"/>
              <a:gd name="connsiteY38" fmla="*/ 4672163 h 6858000"/>
              <a:gd name="connsiteX39" fmla="*/ 266370 w 8655570"/>
              <a:gd name="connsiteY39" fmla="*/ 3407235 h 6858000"/>
              <a:gd name="connsiteX40" fmla="*/ 28265 w 8655570"/>
              <a:gd name="connsiteY40" fmla="*/ 2142306 h 6858000"/>
              <a:gd name="connsiteX41" fmla="*/ 846749 w 8655570"/>
              <a:gd name="connsiteY41" fmla="*/ 1160126 h 6858000"/>
              <a:gd name="connsiteX42" fmla="*/ 2141441 w 8655570"/>
              <a:gd name="connsiteY42" fmla="*/ 416050 h 6858000"/>
              <a:gd name="connsiteX43" fmla="*/ 2956204 w 8655570"/>
              <a:gd name="connsiteY43" fmla="*/ 9237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8655570" h="6858000">
                <a:moveTo>
                  <a:pt x="2855754" y="3169131"/>
                </a:moveTo>
                <a:cubicBezTo>
                  <a:pt x="3138501" y="3570931"/>
                  <a:pt x="3495658" y="3972732"/>
                  <a:pt x="3927222" y="4404296"/>
                </a:cubicBezTo>
                <a:cubicBezTo>
                  <a:pt x="4492719" y="4954912"/>
                  <a:pt x="5028454" y="5371595"/>
                  <a:pt x="5534425" y="5684107"/>
                </a:cubicBezTo>
                <a:cubicBezTo>
                  <a:pt x="5846938" y="5877566"/>
                  <a:pt x="6144568" y="6026381"/>
                  <a:pt x="6427317" y="6145433"/>
                </a:cubicBezTo>
                <a:cubicBezTo>
                  <a:pt x="6814237" y="6309130"/>
                  <a:pt x="7245801" y="6413301"/>
                  <a:pt x="7602957" y="6294249"/>
                </a:cubicBezTo>
                <a:cubicBezTo>
                  <a:pt x="7707127" y="6249604"/>
                  <a:pt x="7826179" y="6190078"/>
                  <a:pt x="7930350" y="6115670"/>
                </a:cubicBezTo>
                <a:cubicBezTo>
                  <a:pt x="7818739" y="6376097"/>
                  <a:pt x="7703407" y="6614201"/>
                  <a:pt x="7584355" y="6831844"/>
                </a:cubicBezTo>
                <a:lnTo>
                  <a:pt x="7569591" y="6858000"/>
                </a:lnTo>
                <a:lnTo>
                  <a:pt x="3135252" y="6858000"/>
                </a:lnTo>
                <a:lnTo>
                  <a:pt x="3013869" y="6757436"/>
                </a:lnTo>
                <a:cubicBezTo>
                  <a:pt x="2773905" y="6554676"/>
                  <a:pt x="2528360" y="6331453"/>
                  <a:pt x="2275373" y="6085907"/>
                </a:cubicBezTo>
                <a:cubicBezTo>
                  <a:pt x="1888454" y="5713869"/>
                  <a:pt x="1575942" y="5356713"/>
                  <a:pt x="1293193" y="5014439"/>
                </a:cubicBezTo>
                <a:cubicBezTo>
                  <a:pt x="1278312" y="4880505"/>
                  <a:pt x="1278312" y="4761453"/>
                  <a:pt x="1308075" y="4642401"/>
                </a:cubicBezTo>
                <a:cubicBezTo>
                  <a:pt x="1397364" y="4270363"/>
                  <a:pt x="1694994" y="3957851"/>
                  <a:pt x="2022388" y="3704865"/>
                </a:cubicBezTo>
                <a:cubicBezTo>
                  <a:pt x="2260492" y="3511405"/>
                  <a:pt x="2543242" y="3332827"/>
                  <a:pt x="2855754" y="3169131"/>
                </a:cubicBezTo>
                <a:close/>
                <a:moveTo>
                  <a:pt x="6308546" y="0"/>
                </a:moveTo>
                <a:lnTo>
                  <a:pt x="8572039" y="0"/>
                </a:lnTo>
                <a:lnTo>
                  <a:pt x="8619085" y="69822"/>
                </a:lnTo>
                <a:lnTo>
                  <a:pt x="8655570" y="141074"/>
                </a:lnTo>
                <a:lnTo>
                  <a:pt x="8655570" y="3882235"/>
                </a:lnTo>
                <a:lnTo>
                  <a:pt x="8540492" y="4359653"/>
                </a:lnTo>
                <a:cubicBezTo>
                  <a:pt x="8406558" y="4865624"/>
                  <a:pt x="8257743" y="5326951"/>
                  <a:pt x="8094047" y="5743633"/>
                </a:cubicBezTo>
                <a:cubicBezTo>
                  <a:pt x="7989876" y="5818041"/>
                  <a:pt x="7870824" y="5877567"/>
                  <a:pt x="7766653" y="5907330"/>
                </a:cubicBezTo>
                <a:cubicBezTo>
                  <a:pt x="7409497" y="6011501"/>
                  <a:pt x="6977933" y="5907330"/>
                  <a:pt x="6591013" y="5758515"/>
                </a:cubicBezTo>
                <a:cubicBezTo>
                  <a:pt x="6308265" y="5654344"/>
                  <a:pt x="6025516" y="5505529"/>
                  <a:pt x="5713004" y="5312070"/>
                </a:cubicBezTo>
                <a:cubicBezTo>
                  <a:pt x="5921345" y="4865624"/>
                  <a:pt x="6099924" y="4359653"/>
                  <a:pt x="6248739" y="3764392"/>
                </a:cubicBezTo>
                <a:cubicBezTo>
                  <a:pt x="6442198" y="3005435"/>
                  <a:pt x="6546369" y="2335766"/>
                  <a:pt x="6561250" y="1740506"/>
                </a:cubicBezTo>
                <a:cubicBezTo>
                  <a:pt x="6576132" y="1383349"/>
                  <a:pt x="6561250" y="1041075"/>
                  <a:pt x="6516606" y="743444"/>
                </a:cubicBezTo>
                <a:cubicBezTo>
                  <a:pt x="6486843" y="527662"/>
                  <a:pt x="6438478" y="315600"/>
                  <a:pt x="6364071" y="125860"/>
                </a:cubicBezTo>
                <a:close/>
                <a:moveTo>
                  <a:pt x="3226616" y="0"/>
                </a:moveTo>
                <a:lnTo>
                  <a:pt x="5868673" y="0"/>
                </a:lnTo>
                <a:lnTo>
                  <a:pt x="5878242" y="17010"/>
                </a:lnTo>
                <a:cubicBezTo>
                  <a:pt x="5987382" y="237472"/>
                  <a:pt x="6047839" y="497898"/>
                  <a:pt x="6085042" y="758325"/>
                </a:cubicBezTo>
                <a:cubicBezTo>
                  <a:pt x="6129687" y="1055955"/>
                  <a:pt x="6144568" y="1398230"/>
                  <a:pt x="6129687" y="1755386"/>
                </a:cubicBezTo>
                <a:cubicBezTo>
                  <a:pt x="5653478" y="1800031"/>
                  <a:pt x="5117744" y="1904201"/>
                  <a:pt x="4537365" y="2082780"/>
                </a:cubicBezTo>
                <a:cubicBezTo>
                  <a:pt x="3763526" y="2291121"/>
                  <a:pt x="3138502" y="2544106"/>
                  <a:pt x="2617649" y="2826855"/>
                </a:cubicBezTo>
                <a:cubicBezTo>
                  <a:pt x="2290256" y="2990552"/>
                  <a:pt x="2007507" y="3169130"/>
                  <a:pt x="1769403" y="3362590"/>
                </a:cubicBezTo>
                <a:cubicBezTo>
                  <a:pt x="1442009" y="3615576"/>
                  <a:pt x="1129497" y="3942969"/>
                  <a:pt x="1055090" y="4300125"/>
                </a:cubicBezTo>
                <a:cubicBezTo>
                  <a:pt x="1025327" y="4419178"/>
                  <a:pt x="1025327" y="4538230"/>
                  <a:pt x="1040208" y="4672163"/>
                </a:cubicBezTo>
                <a:cubicBezTo>
                  <a:pt x="697933" y="4225718"/>
                  <a:pt x="459829" y="3809035"/>
                  <a:pt x="266370" y="3407235"/>
                </a:cubicBezTo>
                <a:cubicBezTo>
                  <a:pt x="72910" y="2975671"/>
                  <a:pt x="-61024" y="2514344"/>
                  <a:pt x="28265" y="2142306"/>
                </a:cubicBezTo>
                <a:cubicBezTo>
                  <a:pt x="117554" y="1770268"/>
                  <a:pt x="474711" y="1427993"/>
                  <a:pt x="846749" y="1160126"/>
                </a:cubicBezTo>
                <a:cubicBezTo>
                  <a:pt x="1203905" y="907140"/>
                  <a:pt x="1635469" y="654154"/>
                  <a:pt x="2141441" y="416050"/>
                </a:cubicBezTo>
                <a:cubicBezTo>
                  <a:pt x="2394427" y="304439"/>
                  <a:pt x="2666014" y="196548"/>
                  <a:pt x="2956204" y="92377"/>
                </a:cubicBezTo>
                <a:close/>
              </a:path>
            </a:pathLst>
          </a:custGeom>
          <a:gradFill>
            <a:gsLst>
              <a:gs pos="0">
                <a:schemeClr val="bg1">
                  <a:lumMod val="85000"/>
                  <a:alpha val="30000"/>
                </a:schemeClr>
              </a:gs>
              <a:gs pos="100000">
                <a:schemeClr val="bg1"/>
              </a:gs>
            </a:gsLst>
            <a:lin ang="5400000" scaled="1"/>
          </a:gra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B9CAC58-44C9-4DC0-A6AF-0B4057C34224}" type="slidenum">
              <a:rPr kumimoji="0" lang="ru-RU" sz="105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ru-RU" sz="105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95000"/>
                  <a:lumOff val="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У нас уже есть </a:t>
            </a:r>
            <a:r>
              <a:rPr lang="ru-RU" dirty="0" smtClean="0"/>
              <a:t>3 </a:t>
            </a:r>
            <a:r>
              <a:rPr lang="ru-RU" dirty="0"/>
              <a:t>собственные награды</a:t>
            </a: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04C0A73D-570B-43C8-8625-916CDF040B0E}"/>
              </a:ext>
            </a:extLst>
          </p:cNvPr>
          <p:cNvSpPr/>
          <p:nvPr/>
        </p:nvSpPr>
        <p:spPr>
          <a:xfrm>
            <a:off x="659396" y="2352678"/>
            <a:ext cx="3050110" cy="2879786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3">
                <a:lumMod val="60000"/>
                <a:lumOff val="40000"/>
                <a:alpha val="99000"/>
              </a:schemeClr>
            </a:solidFill>
          </a:ln>
          <a:effectLst>
            <a:outerShdw blurRad="127000" dist="127000" dir="2700000" algn="tl" rotWithShape="0">
              <a:prstClr val="black">
                <a:alpha val="5000"/>
              </a:prstClr>
            </a:outerShdw>
          </a:effectLst>
        </p:spPr>
        <p:txBody>
          <a:bodyPr rot="0" spcFirstLastPara="0" vertOverflow="overflow" horzOverflow="overflow" vert="horz" wrap="none" lIns="0" tIns="45717" rIns="91434" bIns="457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1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04C0A73D-570B-43C8-8625-916CDF040B0E}"/>
              </a:ext>
            </a:extLst>
          </p:cNvPr>
          <p:cNvSpPr/>
          <p:nvPr/>
        </p:nvSpPr>
        <p:spPr>
          <a:xfrm>
            <a:off x="4763852" y="2348300"/>
            <a:ext cx="2880000" cy="2879786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3">
                <a:lumMod val="60000"/>
                <a:lumOff val="40000"/>
                <a:alpha val="99000"/>
              </a:schemeClr>
            </a:solidFill>
          </a:ln>
          <a:effectLst>
            <a:outerShdw blurRad="127000" dist="127000" dir="2700000" algn="tl" rotWithShape="0">
              <a:prstClr val="black">
                <a:alpha val="5000"/>
              </a:prstClr>
            </a:outerShdw>
          </a:effectLst>
        </p:spPr>
        <p:txBody>
          <a:bodyPr rot="0" spcFirstLastPara="0" vertOverflow="overflow" horzOverflow="overflow" vert="horz" wrap="none" lIns="0" tIns="45717" rIns="91434" bIns="457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1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001488" y="1232756"/>
            <a:ext cx="241190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tercomm 2019</a:t>
            </a:r>
            <a:endParaRPr kumimoji="0" lang="ru-RU" sz="1400" b="1" i="0" u="none" strike="noStrike" kern="1200" cap="none" spc="0" normalizeH="0" baseline="0" noProof="0" dirty="0" smtClean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443372" y="1485365"/>
            <a:ext cx="3528392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Номинация: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Образ жизни (проекты </a:t>
            </a:r>
            <a:b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о развитию корпоративного спорта) 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4997932" y="1232756"/>
            <a:ext cx="241190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ISPO AWARDS 2019</a:t>
            </a:r>
            <a:endParaRPr kumimoji="0" lang="ru-RU" sz="1400" b="1" i="0" u="none" strike="noStrike" kern="1200" cap="none" spc="0" normalizeH="0" baseline="0" noProof="0" dirty="0" smtClean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4439816" y="1485365"/>
            <a:ext cx="3528392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Номинация: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Развитие корпоративной культуры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001487" y="1967690"/>
            <a:ext cx="241190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Финалисты премии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5015988" y="1967690"/>
            <a:ext cx="241190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Финалисты премии</a:t>
            </a: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48186" y="2450203"/>
            <a:ext cx="2705875" cy="2705875"/>
          </a:xfrm>
          <a:prstGeom prst="rect">
            <a:avLst/>
          </a:prstGeom>
        </p:spPr>
      </p:pic>
      <p:pic>
        <p:nvPicPr>
          <p:cNvPr id="13" name="Picture 2" descr="https://intercomm.su/wp-content/uploads/2019/10/%D1%81%D0%B0%D0%B8%CC%86%D1%82.png"/>
          <p:cNvPicPr>
            <a:picLocks noChangeAspect="1" noChangeArrowheads="1"/>
          </p:cNvPicPr>
          <p:nvPr/>
        </p:nvPicPr>
        <p:blipFill rotWithShape="1"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767408" y="2481566"/>
            <a:ext cx="2860074" cy="26844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04C0A73D-570B-43C8-8625-916CDF040B0E}"/>
              </a:ext>
            </a:extLst>
          </p:cNvPr>
          <p:cNvSpPr/>
          <p:nvPr/>
        </p:nvSpPr>
        <p:spPr>
          <a:xfrm>
            <a:off x="8724292" y="2348300"/>
            <a:ext cx="2880000" cy="2879786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3">
                <a:lumMod val="60000"/>
                <a:lumOff val="40000"/>
                <a:alpha val="99000"/>
              </a:schemeClr>
            </a:solidFill>
          </a:ln>
          <a:effectLst>
            <a:outerShdw blurRad="127000" dist="127000" dir="2700000" algn="tl" rotWithShape="0">
              <a:prstClr val="black">
                <a:alpha val="5000"/>
              </a:prstClr>
            </a:outerShdw>
          </a:effectLst>
        </p:spPr>
        <p:txBody>
          <a:bodyPr rot="0" spcFirstLastPara="0" vertOverflow="overflow" horzOverflow="overflow" vert="horz" wrap="none" lIns="0" tIns="45717" rIns="91434" bIns="457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1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8586063" y="1236760"/>
            <a:ext cx="311638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оциальные проекты России 2020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8370039" y="1489369"/>
            <a:ext cx="3528392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Номинация: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оддержка спорта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/>
            </a:r>
            <a:b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и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здорового образа жизни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8946211" y="1971694"/>
            <a:ext cx="241190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обедитель</a:t>
            </a:r>
          </a:p>
        </p:txBody>
      </p:sp>
      <p:pic>
        <p:nvPicPr>
          <p:cNvPr id="21" name="Рисунок 20"/>
          <p:cNvPicPr>
            <a:picLocks noChangeAspect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76447" y="2400348"/>
            <a:ext cx="2775690" cy="2775690"/>
          </a:xfrm>
          <a:prstGeom prst="rect">
            <a:avLst/>
          </a:prstGeom>
        </p:spPr>
      </p:pic>
      <p:pic>
        <p:nvPicPr>
          <p:cNvPr id="22" name="Рисунок 9">
            <a:extLst>
              <a:ext uri="{FF2B5EF4-FFF2-40B4-BE49-F238E27FC236}">
                <a16:creationId xmlns:a16="http://schemas.microsoft.com/office/drawing/2014/main" id="{B55C7356-8119-4254-97A1-A36189C5AECF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0715785" y="350913"/>
            <a:ext cx="1138871" cy="35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88601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292978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1" name="Слайд think-cell" r:id="rId5" imgW="395" imgH="396" progId="TCLayout.ActiveDocument.1">
                  <p:embed/>
                </p:oleObj>
              </mc:Choice>
              <mc:Fallback>
                <p:oleObj name="Слайд think-cell" r:id="rId5" imgW="395" imgH="396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>
            <a:gsLst>
              <a:gs pos="0">
                <a:schemeClr val="accent2"/>
              </a:gs>
              <a:gs pos="100000">
                <a:schemeClr val="accent2">
                  <a:lumMod val="75000"/>
                </a:scheme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95350"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</a:pPr>
            <a:endParaRPr lang="ru-RU" sz="2000" b="1" dirty="0" err="1" smtClean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B9CAC58-44C9-4DC0-A6AF-0B4057C34224}" type="slidenum">
              <a:rPr lang="ru-RU" smtClean="0"/>
              <a:pPr/>
              <a:t>7</a:t>
            </a:fld>
            <a:endParaRPr lang="ru-RU"/>
          </a:p>
        </p:txBody>
      </p:sp>
      <p:sp>
        <p:nvSpPr>
          <p:cNvPr id="8" name="Заголовок 2"/>
          <p:cNvSpPr>
            <a:spLocks noGrp="1"/>
          </p:cNvSpPr>
          <p:nvPr>
            <p:ph type="title"/>
          </p:nvPr>
        </p:nvSpPr>
        <p:spPr>
          <a:xfrm>
            <a:off x="407988" y="154855"/>
            <a:ext cx="10080500" cy="559572"/>
          </a:xfrm>
        </p:spPr>
        <p:txBody>
          <a:bodyPr/>
          <a:lstStyle/>
          <a:p>
            <a:r>
              <a:rPr lang="ru-RU" dirty="0"/>
              <a:t>Т</a:t>
            </a:r>
            <a:r>
              <a:rPr lang="ru-RU" dirty="0" smtClean="0"/>
              <a:t>ак мы </a:t>
            </a:r>
            <a:r>
              <a:rPr lang="ru-RU" dirty="0" smtClean="0"/>
              <a:t>поддерживали наше движение в условиях карантина –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dirty="0" smtClean="0"/>
              <a:t>организовали ежедневные зарядки и вечерние тренировки</a:t>
            </a:r>
            <a:endParaRPr lang="ru-RU" dirty="0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3432" y="908720"/>
            <a:ext cx="9683321" cy="54468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7068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292978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68" name="Слайд think-cell" r:id="rId7" imgW="395" imgH="396" progId="TCLayout.ActiveDocument.1">
                  <p:embed/>
                </p:oleObj>
              </mc:Choice>
              <mc:Fallback>
                <p:oleObj name="Слайд think-cell" r:id="rId7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>
            <a:gsLst>
              <a:gs pos="0">
                <a:schemeClr val="accent2"/>
              </a:gs>
              <a:gs pos="100000">
                <a:schemeClr val="accent2">
                  <a:lumMod val="75000"/>
                </a:scheme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95350"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</a:pPr>
            <a:endParaRPr lang="ru-RU" sz="2000" b="1" dirty="0" err="1" smtClean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B9CAC58-44C9-4DC0-A6AF-0B4057C34224}" type="slidenum">
              <a:rPr lang="ru-RU" smtClean="0"/>
              <a:pPr/>
              <a:t>8</a:t>
            </a:fld>
            <a:endParaRPr lang="ru-RU"/>
          </a:p>
        </p:txBody>
      </p:sp>
      <p:sp>
        <p:nvSpPr>
          <p:cNvPr id="8" name="Заголовок 2"/>
          <p:cNvSpPr>
            <a:spLocks noGrp="1"/>
          </p:cNvSpPr>
          <p:nvPr>
            <p:ph type="title"/>
          </p:nvPr>
        </p:nvSpPr>
        <p:spPr>
          <a:xfrm>
            <a:off x="407988" y="154855"/>
            <a:ext cx="10080500" cy="559572"/>
          </a:xfrm>
        </p:spPr>
        <p:txBody>
          <a:bodyPr/>
          <a:lstStyle/>
          <a:p>
            <a:r>
              <a:rPr lang="ru-RU" dirty="0"/>
              <a:t>Т</a:t>
            </a:r>
            <a:r>
              <a:rPr lang="ru-RU" dirty="0" smtClean="0"/>
              <a:t>ак мы </a:t>
            </a:r>
            <a:r>
              <a:rPr lang="ru-RU" dirty="0" smtClean="0"/>
              <a:t>поддерживали наше движение в условиях карантина –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dirty="0" smtClean="0"/>
              <a:t>провели </a:t>
            </a:r>
            <a:r>
              <a:rPr lang="en-US" dirty="0" smtClean="0"/>
              <a:t>HOME marathon</a:t>
            </a:r>
            <a:r>
              <a:rPr lang="ru-RU" dirty="0" smtClean="0"/>
              <a:t> </a:t>
            </a:r>
            <a:endParaRPr lang="ru-RU" dirty="0"/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396" y="1316226"/>
            <a:ext cx="7189751" cy="4392488"/>
          </a:xfrm>
          <a:prstGeom prst="rect">
            <a:avLst/>
          </a:prstGeom>
        </p:spPr>
      </p:pic>
      <p:pic>
        <p:nvPicPr>
          <p:cNvPr id="12" name="WhatsApp Video 2020-04-05 at 10.39.37">
            <a:hlinkClick r:id="" action="ppaction://media"/>
          </p:cNvPr>
          <p:cNvPicPr>
            <a:picLocks noChangeAspect="1"/>
          </p:cNvPicPr>
          <p:nvPr>
            <a:videoFile r:link="rId5"/>
            <p:extLst>
              <p:ext uri="{DAA4B4D4-6D71-4841-9C94-3DE7FCFB9230}">
                <p14:media xmlns:p14="http://schemas.microsoft.com/office/powerpoint/2010/main" r:embed="rId4"/>
              </p:ext>
            </p:extLst>
          </p:nvPr>
        </p:nvPicPr>
        <p:blipFill>
          <a:blip r:embed="rId10"/>
          <a:stretch>
            <a:fillRect/>
          </a:stretch>
        </p:blipFill>
        <p:spPr>
          <a:xfrm>
            <a:off x="8476488" y="975149"/>
            <a:ext cx="2700300" cy="49350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3522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1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1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2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12"/>
                </p:tgtEl>
              </p:cMediaNode>
            </p:video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292978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5" name="Слайд think-cell" r:id="rId7" imgW="395" imgH="396" progId="TCLayout.ActiveDocument.1">
                  <p:embed/>
                </p:oleObj>
              </mc:Choice>
              <mc:Fallback>
                <p:oleObj name="Слайд think-cell" r:id="rId7" imgW="395" imgH="396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>
            <a:gsLst>
              <a:gs pos="0">
                <a:schemeClr val="accent2"/>
              </a:gs>
              <a:gs pos="100000">
                <a:schemeClr val="accent2">
                  <a:lumMod val="75000"/>
                </a:scheme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95350"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</a:pPr>
            <a:endParaRPr lang="ru-RU" sz="2000" b="1" dirty="0" err="1" smtClean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B9CAC58-44C9-4DC0-A6AF-0B4057C34224}" type="slidenum">
              <a:rPr lang="ru-RU" smtClean="0"/>
              <a:pPr/>
              <a:t>9</a:t>
            </a:fld>
            <a:endParaRPr lang="ru-RU"/>
          </a:p>
        </p:txBody>
      </p:sp>
      <p:sp>
        <p:nvSpPr>
          <p:cNvPr id="8" name="Заголовок 2"/>
          <p:cNvSpPr>
            <a:spLocks noGrp="1"/>
          </p:cNvSpPr>
          <p:nvPr>
            <p:ph type="title"/>
          </p:nvPr>
        </p:nvSpPr>
        <p:spPr>
          <a:xfrm>
            <a:off x="407988" y="154855"/>
            <a:ext cx="10080500" cy="559572"/>
          </a:xfrm>
        </p:spPr>
        <p:txBody>
          <a:bodyPr/>
          <a:lstStyle/>
          <a:p>
            <a:r>
              <a:rPr lang="ru-RU" dirty="0"/>
              <a:t>Т</a:t>
            </a:r>
            <a:r>
              <a:rPr lang="ru-RU" dirty="0" smtClean="0"/>
              <a:t>ак мы </a:t>
            </a:r>
            <a:r>
              <a:rPr lang="ru-RU" dirty="0" smtClean="0"/>
              <a:t>поддерживали наше движение в условиях карантина –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dirty="0" smtClean="0"/>
              <a:t>КУБОК КОМАНД</a:t>
            </a:r>
            <a:endParaRPr lang="ru-RU" dirty="0"/>
          </a:p>
        </p:txBody>
      </p:sp>
      <p:pic>
        <p:nvPicPr>
          <p:cNvPr id="6" name="WhatsApp Video 2020-04-20 at 22.20.26">
            <a:hlinkClick r:id="" action="ppaction://media"/>
          </p:cNvPr>
          <p:cNvPicPr>
            <a:picLocks noChangeAspect="1"/>
          </p:cNvPicPr>
          <p:nvPr>
            <a:videoFile r:link="rId5"/>
            <p:extLst>
              <p:ext uri="{DAA4B4D4-6D71-4841-9C94-3DE7FCFB9230}">
                <p14:media xmlns:p14="http://schemas.microsoft.com/office/powerpoint/2010/main" r:embed="rId4"/>
              </p:ext>
            </p:extLst>
          </p:nvPr>
        </p:nvPicPr>
        <p:blipFill>
          <a:blip r:embed="rId9"/>
          <a:stretch>
            <a:fillRect/>
          </a:stretch>
        </p:blipFill>
        <p:spPr>
          <a:xfrm>
            <a:off x="839416" y="1016732"/>
            <a:ext cx="9288412" cy="51086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6048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6"/>
                </p:tgtEl>
              </p:cMediaNode>
            </p:video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mBWp8JzW7aalWhiRtTAn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oTzJD.FCJh1EFf_Y2jN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CrC87SFbFtzXf5T_2d0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3SFZtL4HOz90SgiHZ3qO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3SFZtL4HOz90SgiHZ3qO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3SFZtL4HOz90SgiHZ3qO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3SFZtL4HOz90SgiHZ3qO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9OrzoD8fcrZ5.AZz4Byb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lcrC4orkRIkFhcPyFkT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Q0w6l4_57EcOcLcct3sZg"/>
</p:tagLst>
</file>

<file path=ppt/theme/theme1.xml><?xml version="1.0" encoding="utf-8"?>
<a:theme xmlns:a="http://schemas.openxmlformats.org/drawingml/2006/main" name="Severstal">
  <a:themeElements>
    <a:clrScheme name="Другая 35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DD1E25"/>
      </a:accent1>
      <a:accent2>
        <a:srgbClr val="005DA3"/>
      </a:accent2>
      <a:accent3>
        <a:srgbClr val="99A4AB"/>
      </a:accent3>
      <a:accent4>
        <a:srgbClr val="42A9B9"/>
      </a:accent4>
      <a:accent5>
        <a:srgbClr val="00A8E5"/>
      </a:accent5>
      <a:accent6>
        <a:srgbClr val="BAC081"/>
      </a:accent6>
      <a:hlink>
        <a:srgbClr val="D5D4C7"/>
      </a:hlink>
      <a:folHlink>
        <a:srgbClr val="D5D4C7"/>
      </a:folHlink>
    </a:clrScheme>
    <a:fontScheme name="Северсталь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gradFill>
          <a:gsLst>
            <a:gs pos="0">
              <a:schemeClr val="accent2"/>
            </a:gs>
            <a:gs pos="100000">
              <a:schemeClr val="accent2">
                <a:lumMod val="75000"/>
              </a:schemeClr>
            </a:gs>
          </a:gsLst>
          <a:lin ang="5400000" scaled="1"/>
        </a:gradFill>
        <a:ln w="9525">
          <a:noFill/>
          <a:miter lim="800000"/>
          <a:headEnd/>
          <a:tailEnd/>
        </a:ln>
        <a:effectLst/>
        <a:extLst/>
      </a:spPr>
      <a:bodyPr vert="horz" wrap="square" lIns="0" tIns="0" rIns="0" bIns="0" numCol="1" rtlCol="0" anchor="ctr" anchorCtr="0" compatLnSpc="1">
        <a:prstTxWarp prst="textNoShape">
          <a:avLst/>
        </a:prstTxWarp>
        <a:noAutofit/>
      </a:bodyPr>
      <a:lstStyle>
        <a:defPPr marL="0" indent="0" algn="ctr" defTabSz="895350">
          <a:spcAft>
            <a:spcPts val="600"/>
          </a:spcAft>
          <a:buClr>
            <a:schemeClr val="accent1"/>
          </a:buClr>
          <a:buFont typeface="Wingdings" panose="05000000000000000000" pitchFamily="2" charset="2"/>
          <a:buNone/>
          <a:defRPr sz="1200" dirty="0" err="1" smtClean="0">
            <a:solidFill>
              <a:schemeClr val="bg1"/>
            </a:solidFill>
          </a:defRPr>
        </a:defPPr>
      </a:lstStyle>
    </a:spDef>
    <a:lnDef>
      <a:spPr bwMode="auto">
        <a:solidFill>
          <a:schemeClr val="accent1"/>
        </a:solidFill>
        <a:ln w="9525" cap="flat" cmpd="sng" algn="ctr">
          <a:solidFill>
            <a:schemeClr val="accent3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 algn="l">
          <a:defRPr sz="1200" dirty="0" err="1" smtClean="0">
            <a:solidFill>
              <a:schemeClr val="tx1">
                <a:lumMod val="75000"/>
                <a:lumOff val="25000"/>
              </a:schemeClr>
            </a:solidFill>
          </a:defRPr>
        </a:defPPr>
      </a:lstStyle>
    </a:txDef>
  </a:objectDefaults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3_Severstal">
  <a:themeElements>
    <a:clrScheme name="Другая 35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DD1E25"/>
      </a:accent1>
      <a:accent2>
        <a:srgbClr val="005DA3"/>
      </a:accent2>
      <a:accent3>
        <a:srgbClr val="99A4AB"/>
      </a:accent3>
      <a:accent4>
        <a:srgbClr val="42A9B9"/>
      </a:accent4>
      <a:accent5>
        <a:srgbClr val="00A8E5"/>
      </a:accent5>
      <a:accent6>
        <a:srgbClr val="BAC081"/>
      </a:accent6>
      <a:hlink>
        <a:srgbClr val="D5D4C7"/>
      </a:hlink>
      <a:folHlink>
        <a:srgbClr val="D5D4C7"/>
      </a:folHlink>
    </a:clrScheme>
    <a:fontScheme name="Северсталь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gradFill>
          <a:gsLst>
            <a:gs pos="0">
              <a:schemeClr val="accent2"/>
            </a:gs>
            <a:gs pos="100000">
              <a:schemeClr val="accent2">
                <a:lumMod val="75000"/>
              </a:schemeClr>
            </a:gs>
          </a:gsLst>
          <a:lin ang="5400000" scaled="1"/>
        </a:gradFill>
        <a:ln w="9525">
          <a:noFill/>
          <a:miter lim="800000"/>
          <a:headEnd/>
          <a:tailEnd/>
        </a:ln>
        <a:effectLst/>
        <a:extLst/>
      </a:spPr>
      <a:bodyPr vert="horz" wrap="square" lIns="0" tIns="0" rIns="0" bIns="0" numCol="1" rtlCol="0" anchor="ctr" anchorCtr="0" compatLnSpc="1">
        <a:prstTxWarp prst="textNoShape">
          <a:avLst/>
        </a:prstTxWarp>
        <a:noAutofit/>
      </a:bodyPr>
      <a:lstStyle>
        <a:defPPr marL="0" indent="0" algn="ctr" defTabSz="895350">
          <a:spcAft>
            <a:spcPts val="600"/>
          </a:spcAft>
          <a:buClr>
            <a:schemeClr val="accent1"/>
          </a:buClr>
          <a:buFont typeface="Wingdings" panose="05000000000000000000" pitchFamily="2" charset="2"/>
          <a:buNone/>
          <a:defRPr sz="1200" dirty="0" err="1" smtClean="0">
            <a:solidFill>
              <a:schemeClr val="bg1"/>
            </a:solidFill>
          </a:defRPr>
        </a:defPPr>
      </a:lstStyle>
    </a:spDef>
    <a:lnDef>
      <a:spPr bwMode="auto">
        <a:solidFill>
          <a:schemeClr val="accent1"/>
        </a:solidFill>
        <a:ln w="9525" cap="flat" cmpd="sng" algn="ctr">
          <a:solidFill>
            <a:schemeClr val="accent3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 algn="l">
          <a:defRPr sz="1200" dirty="0" err="1" smtClean="0">
            <a:solidFill>
              <a:schemeClr val="tx1">
                <a:lumMod val="75000"/>
                <a:lumOff val="25000"/>
              </a:schemeClr>
            </a:solidFill>
          </a:defRPr>
        </a:defPPr>
      </a:lstStyle>
    </a:txDef>
  </a:objectDefaults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2_Severstal">
  <a:themeElements>
    <a:clrScheme name="Другая 35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DD1E25"/>
      </a:accent1>
      <a:accent2>
        <a:srgbClr val="005DA3"/>
      </a:accent2>
      <a:accent3>
        <a:srgbClr val="99A4AB"/>
      </a:accent3>
      <a:accent4>
        <a:srgbClr val="42A9B9"/>
      </a:accent4>
      <a:accent5>
        <a:srgbClr val="00A8E5"/>
      </a:accent5>
      <a:accent6>
        <a:srgbClr val="BAC081"/>
      </a:accent6>
      <a:hlink>
        <a:srgbClr val="D5D4C7"/>
      </a:hlink>
      <a:folHlink>
        <a:srgbClr val="D5D4C7"/>
      </a:folHlink>
    </a:clrScheme>
    <a:fontScheme name="Северсталь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gradFill>
          <a:gsLst>
            <a:gs pos="0">
              <a:schemeClr val="accent2"/>
            </a:gs>
            <a:gs pos="100000">
              <a:schemeClr val="accent2">
                <a:lumMod val="75000"/>
              </a:schemeClr>
            </a:gs>
          </a:gsLst>
          <a:lin ang="5400000" scaled="1"/>
        </a:gradFill>
        <a:ln w="9525">
          <a:noFill/>
          <a:miter lim="800000"/>
          <a:headEnd/>
          <a:tailEnd/>
        </a:ln>
        <a:effectLst/>
        <a:extLst/>
      </a:spPr>
      <a:bodyPr vert="horz" wrap="square" lIns="0" tIns="0" rIns="0" bIns="0" numCol="1" rtlCol="0" anchor="ctr" anchorCtr="0" compatLnSpc="1">
        <a:prstTxWarp prst="textNoShape">
          <a:avLst/>
        </a:prstTxWarp>
        <a:noAutofit/>
      </a:bodyPr>
      <a:lstStyle>
        <a:defPPr marL="0" indent="0" algn="ctr" defTabSz="895350">
          <a:spcAft>
            <a:spcPts val="600"/>
          </a:spcAft>
          <a:buClr>
            <a:schemeClr val="accent1"/>
          </a:buClr>
          <a:buFont typeface="Wingdings" panose="05000000000000000000" pitchFamily="2" charset="2"/>
          <a:buNone/>
          <a:defRPr sz="1200" dirty="0" err="1" smtClean="0">
            <a:solidFill>
              <a:schemeClr val="bg1"/>
            </a:solidFill>
          </a:defRPr>
        </a:defPPr>
      </a:lstStyle>
    </a:spDef>
    <a:lnDef>
      <a:spPr bwMode="auto">
        <a:solidFill>
          <a:schemeClr val="accent1"/>
        </a:solidFill>
        <a:ln w="9525" cap="flat" cmpd="sng" algn="ctr">
          <a:solidFill>
            <a:schemeClr val="accent3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 algn="l">
          <a:defRPr sz="1200" dirty="0" err="1" smtClean="0">
            <a:solidFill>
              <a:schemeClr val="tx1">
                <a:lumMod val="75000"/>
                <a:lumOff val="25000"/>
              </a:schemeClr>
            </a:solidFill>
          </a:defRPr>
        </a:defPPr>
      </a:lstStyle>
    </a:txDef>
  </a:objectDefaults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x0441__x043e__x0440__x0442__x0438__x0440__x043e__x0432__x043a__x0430_ xmlns="4bad4e80-64da-46ca-9c26-983dd3f4de93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70ED2FF0C0B79A4997E31B771AEC3E6E" ma:contentTypeVersion="2" ma:contentTypeDescription="Создание документа." ma:contentTypeScope="" ma:versionID="ce9f216b9b30818e1d941e879215f1d0">
  <xsd:schema xmlns:xsd="http://www.w3.org/2001/XMLSchema" xmlns:xs="http://www.w3.org/2001/XMLSchema" xmlns:p="http://schemas.microsoft.com/office/2006/metadata/properties" xmlns:ns2="f311cce2-66c9-4cf1-b39a-428d5f170633" xmlns:ns3="4bad4e80-64da-46ca-9c26-983dd3f4de93" targetNamespace="http://schemas.microsoft.com/office/2006/metadata/properties" ma:root="true" ma:fieldsID="af86fcb4152ae32c586e80b18b004f94" ns2:_="" ns3:_="">
    <xsd:import namespace="f311cce2-66c9-4cf1-b39a-428d5f170633"/>
    <xsd:import namespace="4bad4e80-64da-46ca-9c26-983dd3f4de93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3:_x0441__x043e__x0440__x0442__x0438__x0440__x043e__x0432__x043a__x0430_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311cce2-66c9-4cf1-b39a-428d5f170633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Общий доступ с использованием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bad4e80-64da-46ca-9c26-983dd3f4de93" elementFormDefault="qualified">
    <xsd:import namespace="http://schemas.microsoft.com/office/2006/documentManagement/types"/>
    <xsd:import namespace="http://schemas.microsoft.com/office/infopath/2007/PartnerControls"/>
    <xsd:element name="_x0441__x043e__x0440__x0442__x0438__x0440__x043e__x0432__x043a__x0430_" ma:index="9" nillable="true" ma:displayName="сортировка" ma:internalName="_x0441__x043e__x0440__x0442__x0438__x0440__x043e__x0432__x043a__x0430_">
      <xsd:simpleType>
        <xsd:restriction base="dms:Number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C886BCF-697A-4877-A8B5-3437CC474AD6}">
  <ds:schemaRefs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metadata/properties"/>
    <ds:schemaRef ds:uri="4bad4e80-64da-46ca-9c26-983dd3f4de93"/>
    <ds:schemaRef ds:uri="http://schemas.microsoft.com/office/2006/documentManagement/types"/>
    <ds:schemaRef ds:uri="f311cce2-66c9-4cf1-b39a-428d5f170633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1398609D-B1DC-4E3C-84A1-4BB5E1E04AE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FC0E0A3-3DDB-4865-A6CD-C6974EC20CE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311cce2-66c9-4cf1-b39a-428d5f170633"/>
    <ds:schemaRef ds:uri="4bad4e80-64da-46ca-9c26-983dd3f4de9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0026</TotalTime>
  <Words>536</Words>
  <Application>Microsoft Office PowerPoint</Application>
  <PresentationFormat>Широкоэкранный</PresentationFormat>
  <Paragraphs>93</Paragraphs>
  <Slides>12</Slides>
  <Notes>0</Notes>
  <HiddenSlides>0</HiddenSlides>
  <MMClips>2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2</vt:i4>
      </vt:variant>
    </vt:vector>
  </HeadingPairs>
  <TitlesOfParts>
    <vt:vector size="23" baseType="lpstr">
      <vt:lpstr>Arial</vt:lpstr>
      <vt:lpstr>Calibri</vt:lpstr>
      <vt:lpstr>FS Severstal</vt:lpstr>
      <vt:lpstr>Play</vt:lpstr>
      <vt:lpstr>Roboto Thin</vt:lpstr>
      <vt:lpstr>Times New Roman</vt:lpstr>
      <vt:lpstr>Wingdings</vt:lpstr>
      <vt:lpstr>Severstal</vt:lpstr>
      <vt:lpstr>3_Severstal</vt:lpstr>
      <vt:lpstr>2_Severstal</vt:lpstr>
      <vt:lpstr>Слайд think-cell</vt:lpstr>
      <vt:lpstr>Презентация PowerPoint</vt:lpstr>
      <vt:lpstr>Всё началось с участия в «Гонке героев»</vt:lpstr>
      <vt:lpstr>No limits что-то большее, чем просто спортивное движение Северстали</vt:lpstr>
      <vt:lpstr>Презентация PowerPoint</vt:lpstr>
      <vt:lpstr>Цели и дальнейшие шаги на 2020 год</vt:lpstr>
      <vt:lpstr>У нас уже есть 3 собственные награды</vt:lpstr>
      <vt:lpstr>Так мы поддерживали наше движение в условиях карантина –  организовали ежедневные зарядки и вечерние тренировки</vt:lpstr>
      <vt:lpstr>Так мы поддерживали наше движение в условиях карантина –  провели HOME marathon </vt:lpstr>
      <vt:lpstr>Так мы поддерживали наше движение в условиях карантина –  КУБОК КОМАНД</vt:lpstr>
      <vt:lpstr>И еще мы провели…</vt:lpstr>
      <vt:lpstr>Упоминание Severstal No Limits в социальных сетях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office</dc:creator>
  <cp:lastModifiedBy>Леонтьева Наталья Владимировна</cp:lastModifiedBy>
  <cp:revision>702</cp:revision>
  <dcterms:created xsi:type="dcterms:W3CDTF">2018-07-05T12:56:36Z</dcterms:created>
  <dcterms:modified xsi:type="dcterms:W3CDTF">2020-10-22T06:08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0ED2FF0C0B79A4997E31B771AEC3E6E</vt:lpwstr>
  </property>
</Properties>
</file>